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8" r:id="rId1"/>
    <p:sldMasterId id="2147483939" r:id="rId2"/>
  </p:sldMasterIdLst>
  <p:notesMasterIdLst>
    <p:notesMasterId r:id="rId11"/>
  </p:notesMasterIdLst>
  <p:handoutMasterIdLst>
    <p:handoutMasterId r:id="rId12"/>
  </p:handoutMasterIdLst>
  <p:sldIdLst>
    <p:sldId id="416" r:id="rId3"/>
    <p:sldId id="418" r:id="rId4"/>
    <p:sldId id="424" r:id="rId5"/>
    <p:sldId id="367" r:id="rId6"/>
    <p:sldId id="421" r:id="rId7"/>
    <p:sldId id="422" r:id="rId8"/>
    <p:sldId id="426" r:id="rId9"/>
    <p:sldId id="410" r:id="rId10"/>
  </p:sldIdLst>
  <p:sldSz cx="24377650" cy="13716000"/>
  <p:notesSz cx="6889750" cy="10021888"/>
  <p:custDataLst>
    <p:tags r:id="rId13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中英文版本" id="{A64C17D9-1EE6-4523-A692-546D27E9EE49}">
          <p14:sldIdLst>
            <p14:sldId id="416"/>
            <p14:sldId id="418"/>
            <p14:sldId id="424"/>
            <p14:sldId id="367"/>
            <p14:sldId id="421"/>
            <p14:sldId id="422"/>
            <p14:sldId id="426"/>
          </p14:sldIdLst>
        </p14:section>
        <p14:section name="中越文版本" id="{012FC0AC-102B-418D-B098-739D4EF5609D}">
          <p14:sldIdLst>
            <p14:sldId id="4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091" userDrawn="1">
          <p15:clr>
            <a:srgbClr val="A4A3A4"/>
          </p15:clr>
        </p15:guide>
        <p15:guide id="2" orient="horz" pos="498">
          <p15:clr>
            <a:srgbClr val="A4A3A4"/>
          </p15:clr>
        </p15:guide>
        <p15:guide id="3" pos="5342" userDrawn="1">
          <p15:clr>
            <a:srgbClr val="A4A3A4"/>
          </p15:clr>
        </p15:guide>
        <p15:guide id="4" pos="7701" userDrawn="1">
          <p15:clr>
            <a:srgbClr val="A4A3A4"/>
          </p15:clr>
        </p15:guide>
        <p15:guide id="5" pos="9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BF"/>
    <a:srgbClr val="C1E3FF"/>
    <a:srgbClr val="B8DBFE"/>
    <a:srgbClr val="AFDBFF"/>
    <a:srgbClr val="00447C"/>
    <a:srgbClr val="71C6C1"/>
    <a:srgbClr val="FFFFFF"/>
    <a:srgbClr val="888888"/>
    <a:srgbClr val="034D95"/>
    <a:srgbClr val="B0CB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388" autoAdjust="0"/>
    <p:restoredTop sz="94322" autoAdjust="0"/>
  </p:normalViewPr>
  <p:slideViewPr>
    <p:cSldViewPr snapToGrid="0" snapToObjects="1">
      <p:cViewPr varScale="1">
        <p:scale>
          <a:sx n="27" d="100"/>
          <a:sy n="27" d="100"/>
        </p:scale>
        <p:origin x="45" y="555"/>
      </p:cViewPr>
      <p:guideLst>
        <p:guide orient="horz" pos="5091"/>
        <p:guide orient="horz" pos="498"/>
        <p:guide pos="5342"/>
        <p:guide pos="7701"/>
        <p:guide pos="953"/>
      </p:guideLst>
    </p:cSldViewPr>
  </p:slideViewPr>
  <p:outlineViewPr>
    <p:cViewPr>
      <p:scale>
        <a:sx n="33" d="100"/>
        <a:sy n="33" d="100"/>
      </p:scale>
      <p:origin x="0" y="-73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9" d="100"/>
        <a:sy n="29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278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2597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r">
              <a:defRPr sz="1300"/>
            </a:lvl1pPr>
          </a:lstStyle>
          <a:p>
            <a:fld id="{01C40ABE-4E7C-4770-84EC-50597FA9828F}" type="datetimeFigureOut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2597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r">
              <a:defRPr sz="1300"/>
            </a:lvl1pPr>
          </a:lstStyle>
          <a:p>
            <a:fld id="{3D8349AD-CDF8-4BEF-A0FF-165D2398120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2749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1094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l">
              <a:defRPr sz="1300">
                <a:latin typeface="Lato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1094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r">
              <a:defRPr sz="1300">
                <a:latin typeface="Lato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11/2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80200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4" tIns="48317" rIns="96634" bIns="4831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760397"/>
            <a:ext cx="5511800" cy="4509850"/>
          </a:xfrm>
          <a:prstGeom prst="rect">
            <a:avLst/>
          </a:prstGeom>
        </p:spPr>
        <p:txBody>
          <a:bodyPr vert="horz" lIns="96634" tIns="48317" rIns="96634" bIns="48317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4"/>
            <a:ext cx="2985558" cy="50109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l">
              <a:defRPr sz="1300">
                <a:latin typeface="Lato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597" y="9519054"/>
            <a:ext cx="2985558" cy="50109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r">
              <a:defRPr sz="1300">
                <a:latin typeface="Lato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685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38">
              <a:defRPr/>
            </a:pPr>
            <a:fld id="{D34C0232-94FA-4EBE-BB9B-79FBE486032D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66338">
                <a:defRPr/>
              </a:pPr>
              <a:t>3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862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38">
              <a:defRPr/>
            </a:pPr>
            <a:fld id="{D34C0232-94FA-4EBE-BB9B-79FBE486032D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66338">
                <a:defRPr/>
              </a:pPr>
              <a:t>4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0862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38">
              <a:defRPr/>
            </a:pPr>
            <a:fld id="{D34C0232-94FA-4EBE-BB9B-79FBE486032D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66338">
                <a:defRPr/>
              </a:pPr>
              <a:t>5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2135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38">
              <a:defRPr/>
            </a:pPr>
            <a:fld id="{D34C0232-94FA-4EBE-BB9B-79FBE486032D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66338">
                <a:defRPr/>
              </a:pPr>
              <a:t>6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8628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ABC28-E59F-C098-FBF3-E52158D9E7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EC9E6F56-A04F-61C1-84A4-F03FAEB784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881329F6-D965-E973-B497-F680C2EB8B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0A507F8-25F8-F473-511C-4074D76610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38">
              <a:defRPr/>
            </a:pPr>
            <a:fld id="{D34C0232-94FA-4EBE-BB9B-79FBE486032D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66338">
                <a:defRPr/>
              </a:pPr>
              <a:t>7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7438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731331" y="731522"/>
            <a:ext cx="18387208" cy="4431981"/>
          </a:xfr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396" b="0" i="0" baseline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731330" y="6096001"/>
            <a:ext cx="18384811" cy="8207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5332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" y="12725401"/>
            <a:ext cx="2666305" cy="990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4377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3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899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25031"/>
            <a:ext cx="22074250" cy="177279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403340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318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24377650" cy="96739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32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84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-3176" y="0"/>
            <a:ext cx="12161839" cy="13716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08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5779750" cy="13716000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4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401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r Clients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8732134" y="4330877"/>
            <a:ext cx="3371445" cy="33714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12188825" y="4330877"/>
            <a:ext cx="3371445" cy="33714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8732134" y="7791285"/>
            <a:ext cx="3371445" cy="33714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12188825" y="7791285"/>
            <a:ext cx="3371445" cy="33714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>
                <a:latin typeface="Lato Light"/>
                <a:cs typeface="Lato Ligh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884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pto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3173578"/>
            <a:ext cx="24377650" cy="49456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52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24377650" cy="1305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7673" tIns="108836" rIns="217673" bIns="108836" rtlCol="0" anchor="ctr"/>
          <a:lstStyle/>
          <a:p>
            <a:pPr algn="ctr"/>
            <a:endParaRPr lang="zh-CN" altLang="en-US"/>
          </a:p>
        </p:txBody>
      </p:sp>
      <p:pic>
        <p:nvPicPr>
          <p:cNvPr id="3" name="Picture 2" descr="D:\Wonderworks\Client\Luxshare ICT\Design\Version 9_20111129\1130_Luxshare-ICT_ppt-0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857571" y="15995"/>
            <a:ext cx="6511309" cy="1999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标题 1"/>
          <p:cNvSpPr>
            <a:spLocks noGrp="1"/>
          </p:cNvSpPr>
          <p:nvPr>
            <p:ph type="title" idx="4294967295" hasCustomPrompt="1"/>
          </p:nvPr>
        </p:nvSpPr>
        <p:spPr>
          <a:xfrm>
            <a:off x="2589795" y="521296"/>
            <a:ext cx="21309281" cy="1730376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altLang="zh-CN" sz="10500" kern="1200" dirty="0">
                <a:solidFill>
                  <a:srgbClr val="004F97"/>
                </a:solidFill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MS PGothic" pitchFamily="34" charset="-128"/>
                <a:ea typeface="MS PGothic" pitchFamily="34" charset="-128"/>
              </a:rPr>
              <a:t> </a:t>
            </a:r>
            <a:r>
              <a:rPr lang="en-US" altLang="zh-CN" sz="10500" kern="1200" dirty="0">
                <a:solidFill>
                  <a:srgbClr val="343434"/>
                </a:solidFill>
                <a:effectLst/>
                <a:latin typeface="MS PGothic" pitchFamily="34" charset="-128"/>
                <a:ea typeface="MS PGothic" pitchFamily="34" charset="-128"/>
                <a:cs typeface="Calibri"/>
              </a:rPr>
              <a:t>| </a:t>
            </a:r>
            <a:endParaRPr lang="zh-CN" altLang="en-US" sz="10500" dirty="0">
              <a:latin typeface="MS PGothic" pitchFamily="34" charset="-128"/>
              <a:ea typeface="MS PGothic" pitchFamily="34" charset="-128"/>
            </a:endParaRPr>
          </a:p>
        </p:txBody>
      </p:sp>
      <p:cxnSp>
        <p:nvCxnSpPr>
          <p:cNvPr id="5" name="直接连接符 4"/>
          <p:cNvCxnSpPr/>
          <p:nvPr userDrawn="1"/>
        </p:nvCxnSpPr>
        <p:spPr>
          <a:xfrm>
            <a:off x="2206316" y="2393504"/>
            <a:ext cx="21500789" cy="0"/>
          </a:xfrm>
          <a:prstGeom prst="line">
            <a:avLst/>
          </a:prstGeom>
          <a:ln w="31750" cap="sq">
            <a:solidFill>
              <a:schemeClr val="bg2">
                <a:lumMod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內容版面配置區 2"/>
          <p:cNvSpPr>
            <a:spLocks noGrp="1"/>
          </p:cNvSpPr>
          <p:nvPr>
            <p:ph idx="1"/>
          </p:nvPr>
        </p:nvSpPr>
        <p:spPr>
          <a:xfrm>
            <a:off x="1546339" y="3326533"/>
            <a:ext cx="21306450" cy="9051926"/>
          </a:xfrm>
          <a:prstGeom prst="rect">
            <a:avLst/>
          </a:prstGeom>
        </p:spPr>
        <p:txBody>
          <a:bodyPr/>
          <a:lstStyle>
            <a:lvl1pPr>
              <a:defRPr sz="5700">
                <a:latin typeface="Arial" pitchFamily="34" charset="0"/>
                <a:ea typeface="華康黑體 Std W5" pitchFamily="34" charset="-120"/>
                <a:cs typeface="Arial" pitchFamily="34" charset="0"/>
              </a:defRPr>
            </a:lvl1pPr>
            <a:lvl2pPr>
              <a:defRPr sz="5200">
                <a:latin typeface="Arial" pitchFamily="34" charset="0"/>
                <a:ea typeface="華康黑體 Std W5" pitchFamily="34" charset="-120"/>
                <a:cs typeface="Arial" pitchFamily="34" charset="0"/>
              </a:defRPr>
            </a:lvl2pPr>
            <a:lvl3pPr>
              <a:defRPr sz="4800">
                <a:latin typeface="Arial" pitchFamily="34" charset="0"/>
                <a:ea typeface="華康黑體 Std W5" pitchFamily="34" charset="-120"/>
                <a:cs typeface="Arial" pitchFamily="34" charset="0"/>
              </a:defRPr>
            </a:lvl3pPr>
            <a:lvl4pPr>
              <a:defRPr sz="4300">
                <a:latin typeface="Arial" pitchFamily="34" charset="0"/>
                <a:ea typeface="華康黑體 Std W5" pitchFamily="34" charset="-120"/>
                <a:cs typeface="Arial" pitchFamily="34" charset="0"/>
              </a:defRPr>
            </a:lvl4pPr>
            <a:lvl5pPr>
              <a:defRPr sz="3800">
                <a:latin typeface="Arial" pitchFamily="34" charset="0"/>
                <a:ea typeface="華康黑體 Std W5" pitchFamily="34" charset="-120"/>
                <a:cs typeface="Arial" pitchFamily="34" charset="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38312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首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040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731331" y="731522"/>
            <a:ext cx="13865164" cy="4431981"/>
          </a:xfrm>
        </p:spPr>
        <p:txBody>
          <a:bodyPr wrap="square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63" b="0" i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731331" y="6005689"/>
            <a:ext cx="13865164" cy="8207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5332" b="0" i="0" smtClean="0">
                <a:solidFill>
                  <a:schemeClr val="bg2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Freeform 12"/>
          <p:cNvSpPr/>
          <p:nvPr userDrawn="1"/>
        </p:nvSpPr>
        <p:spPr>
          <a:xfrm>
            <a:off x="10931854" y="2971801"/>
            <a:ext cx="13521976" cy="10763251"/>
          </a:xfrm>
          <a:custGeom>
            <a:avLst/>
            <a:gdLst>
              <a:gd name="connsiteX0" fmla="*/ 5043487 w 5072062"/>
              <a:gd name="connsiteY0" fmla="*/ 57150 h 4036219"/>
              <a:gd name="connsiteX1" fmla="*/ 0 w 5072062"/>
              <a:gd name="connsiteY1" fmla="*/ 4036219 h 4036219"/>
              <a:gd name="connsiteX2" fmla="*/ 5057775 w 5072062"/>
              <a:gd name="connsiteY2" fmla="*/ 4036219 h 4036219"/>
              <a:gd name="connsiteX3" fmla="*/ 5057775 w 5072062"/>
              <a:gd name="connsiteY3" fmla="*/ 0 h 4036219"/>
              <a:gd name="connsiteX4" fmla="*/ 5072062 w 5072062"/>
              <a:gd name="connsiteY4" fmla="*/ 742950 h 4036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2062" h="4036219">
                <a:moveTo>
                  <a:pt x="5043487" y="57150"/>
                </a:moveTo>
                <a:lnTo>
                  <a:pt x="0" y="4036219"/>
                </a:lnTo>
                <a:lnTo>
                  <a:pt x="5057775" y="4036219"/>
                </a:lnTo>
                <a:lnTo>
                  <a:pt x="5057775" y="0"/>
                </a:lnTo>
                <a:lnTo>
                  <a:pt x="5072062" y="74295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marL="0" marR="0" lvl="0" indent="0" algn="ctr" defTabSz="24377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39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8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black">
          <a:xfrm>
            <a:off x="20863187" y="10264512"/>
            <a:ext cx="2728607" cy="2729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209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10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过度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265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6592104" y="324450"/>
            <a:ext cx="17782878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2679" y="324450"/>
            <a:ext cx="481719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547852" y="324450"/>
            <a:ext cx="128273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739578" y="314761"/>
            <a:ext cx="58525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Work Report</a:t>
            </a:r>
          </a:p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&amp; Summary Plan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5094" y="472572"/>
            <a:ext cx="2782556" cy="83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46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6592104" y="324450"/>
            <a:ext cx="17782878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2679" y="324450"/>
            <a:ext cx="481719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547852" y="324450"/>
            <a:ext cx="128273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739578" y="365561"/>
            <a:ext cx="5852526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99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完成情况</a:t>
            </a:r>
            <a:endParaRPr kumimoji="0" lang="en-US" altLang="zh-CN" sz="399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 txBox="1"/>
          <p:nvPr userDrawn="1"/>
        </p:nvSpPr>
        <p:spPr>
          <a:xfrm>
            <a:off x="20106141" y="365561"/>
            <a:ext cx="3614121" cy="1049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C00000">
                  <a:lumMod val="75000"/>
                </a:srgbClr>
              </a:buClr>
              <a:buSzPct val="145000"/>
              <a:buFont typeface="Arial" panose="020B0604020202020204"/>
              <a:buNone/>
              <a:tabLst/>
              <a:defRPr/>
            </a:pPr>
            <a:r>
              <a:rPr kumimoji="0" lang="en-US" altLang="zh-CN" sz="681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LOGO</a:t>
            </a:r>
            <a:endParaRPr kumimoji="0" lang="en-US" sz="681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1590861" y="1089282"/>
            <a:ext cx="4086503" cy="558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2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Click Here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9202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6592104" y="324450"/>
            <a:ext cx="17782878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2679" y="324450"/>
            <a:ext cx="481719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547852" y="324450"/>
            <a:ext cx="128273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739578" y="365561"/>
            <a:ext cx="5852526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99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完成情况</a:t>
            </a:r>
            <a:endParaRPr kumimoji="0" lang="en-US" altLang="zh-CN" sz="399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 txBox="1"/>
          <p:nvPr userDrawn="1"/>
        </p:nvSpPr>
        <p:spPr>
          <a:xfrm>
            <a:off x="20106141" y="365561"/>
            <a:ext cx="3614121" cy="1049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C00000">
                  <a:lumMod val="75000"/>
                </a:srgbClr>
              </a:buClr>
              <a:buSzPct val="145000"/>
              <a:buFont typeface="Arial" panose="020B0604020202020204"/>
              <a:buNone/>
              <a:tabLst/>
              <a:defRPr/>
            </a:pPr>
            <a:r>
              <a:rPr kumimoji="0" lang="en-US" altLang="zh-CN" sz="681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LOGO</a:t>
            </a:r>
            <a:endParaRPr kumimoji="0" lang="en-US" sz="681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1590861" y="1089282"/>
            <a:ext cx="4086503" cy="558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2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Click Here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8880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6592104" y="324450"/>
            <a:ext cx="17782878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2679" y="324450"/>
            <a:ext cx="481719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矩形 3"/>
          <p:cNvSpPr/>
          <p:nvPr userDrawn="1"/>
        </p:nvSpPr>
        <p:spPr>
          <a:xfrm>
            <a:off x="547852" y="324450"/>
            <a:ext cx="128273" cy="11325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739578" y="365561"/>
            <a:ext cx="5852526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99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下年度工作计划</a:t>
            </a:r>
            <a:endParaRPr kumimoji="0" lang="en-US" altLang="zh-CN" sz="399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 txBox="1"/>
          <p:nvPr userDrawn="1"/>
        </p:nvSpPr>
        <p:spPr>
          <a:xfrm>
            <a:off x="20106141" y="365561"/>
            <a:ext cx="3614121" cy="1049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 panose="020B0604020202020204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C00000">
                  <a:lumMod val="75000"/>
                </a:srgbClr>
              </a:buClr>
              <a:buSzPct val="145000"/>
              <a:buFont typeface="Arial" panose="020B0604020202020204"/>
              <a:buNone/>
              <a:tabLst/>
              <a:defRPr/>
            </a:pPr>
            <a:r>
              <a:rPr kumimoji="0" lang="en-US" altLang="zh-CN" sz="681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LOGO</a:t>
            </a:r>
            <a:endParaRPr kumimoji="0" lang="en-US" sz="681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1590861" y="1089282"/>
            <a:ext cx="4086503" cy="558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029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Click Here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0718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094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版权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A_矩形 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4377650" cy="13716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tl"/>
          </a:blip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5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10248244" y="1827504"/>
            <a:ext cx="3877985" cy="120000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198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版权声明</a:t>
            </a:r>
            <a:endParaRPr kumimoji="0" lang="en-US" altLang="zh-CN" sz="7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 userDrawn="1"/>
        </p:nvSpPr>
        <p:spPr>
          <a:xfrm>
            <a:off x="730058" y="3754256"/>
            <a:ext cx="22914355" cy="83086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799" b="0" i="0" u="none" strike="noStrike" kern="1200" cap="none" spc="0" normalizeH="0" baseline="0" noProof="0" dirty="0" err="1">
                <a:ln>
                  <a:noFill/>
                </a:ln>
                <a:solidFill>
                  <a:srgbClr val="44BE9B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感谢您支持原创设计事业，支持设计版权产</a:t>
            </a:r>
            <a:r>
              <a:rPr kumimoji="0" lang="en-US" altLang="zh-CN" sz="4799" b="0" i="0" u="none" strike="noStrike" kern="1200" cap="none" spc="0" normalizeH="0" baseline="0" noProof="0" dirty="0">
                <a:ln>
                  <a:noFill/>
                </a:ln>
                <a:solidFill>
                  <a:srgbClr val="44BE9B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！</a:t>
            </a:r>
          </a:p>
        </p:txBody>
      </p:sp>
      <p:sp>
        <p:nvSpPr>
          <p:cNvPr id="14" name="矩形 13"/>
          <p:cNvSpPr/>
          <p:nvPr userDrawn="1"/>
        </p:nvSpPr>
        <p:spPr>
          <a:xfrm>
            <a:off x="1952910" y="5312734"/>
            <a:ext cx="20471831" cy="698447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        感谢您下载PPT千图网平台上提供的产品，为了您和千图网以及原创作者的利益，请勿复制、传播、销售，否则将承担法律责任！千图网将对作品进行维权，按照传播下载次数的十倍进行索取赔偿！</a:t>
            </a:r>
          </a:p>
          <a:p>
            <a:pPr marL="0" marR="0" lvl="0" indent="0" algn="l" defTabSz="1828343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1、千图网网站出售的PPT模版是免版税类（RF：Royalty-free）正版受《中华人民共和国著作法》和《世界版权公约》的保护，作品的所有权、版权和著作权归千图网所有，您下载的是PPT模版素材使用权。</a:t>
            </a:r>
          </a:p>
          <a:p>
            <a:pPr marL="0" marR="0" lvl="0" indent="0" algn="l" defTabSz="1828343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2、不得将千图网的PPT模版、PPT素材，本身用于再出售，或者出租、出借、转让、分销、发布或者作为礼物供他人使用，不得转授权、出卖、转让本协议或本协议中的权利。</a:t>
            </a:r>
          </a:p>
          <a:p>
            <a:pPr marL="0" marR="0" lvl="0" indent="0" algn="l" defTabSz="1828343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3、禁止把作品纳入商标或服务标记。</a:t>
            </a:r>
          </a:p>
          <a:p>
            <a:pPr marL="0" marR="0" lvl="0" indent="0" algn="l" defTabSz="1828343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7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rPr>
              <a:t>4、禁止用户用下载格式在网上传播作品。或者作品可以让第三方单独付费或共享免费下载、或通过转移电话服务系统传播。</a:t>
            </a:r>
          </a:p>
        </p:txBody>
      </p:sp>
    </p:spTree>
    <p:extLst>
      <p:ext uri="{BB962C8B-B14F-4D97-AF65-F5344CB8AC3E}">
        <p14:creationId xmlns:p14="http://schemas.microsoft.com/office/powerpoint/2010/main" val="189199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24850" cy="265112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6773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6" descr="德國工廠-塑科精密 copy.jpg"/>
          <p:cNvPicPr>
            <a:picLocks noChangeAspect="1"/>
          </p:cNvPicPr>
          <p:nvPr userDrawn="1"/>
        </p:nvPicPr>
        <p:blipFill>
          <a:blip r:embed="rId2" cstate="email"/>
          <a:srcRect l="1" r="1"/>
          <a:stretch>
            <a:fillRect/>
          </a:stretch>
        </p:blipFill>
        <p:spPr bwMode="auto">
          <a:xfrm>
            <a:off x="0" y="0"/>
            <a:ext cx="24377650" cy="9673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9"/>
          <p:cNvGrpSpPr/>
          <p:nvPr userDrawn="1"/>
        </p:nvGrpSpPr>
        <p:grpSpPr>
          <a:xfrm>
            <a:off x="538044" y="2079343"/>
            <a:ext cx="23207782" cy="5390572"/>
            <a:chOff x="1137048" y="1338784"/>
            <a:chExt cx="13624967" cy="6522591"/>
          </a:xfrm>
          <a:solidFill>
            <a:schemeClr val="bg1"/>
          </a:solidFill>
        </p:grpSpPr>
        <p:sp>
          <p:nvSpPr>
            <p:cNvPr id="5" name="Half Frame 1"/>
            <p:cNvSpPr/>
            <p:nvPr/>
          </p:nvSpPr>
          <p:spPr>
            <a:xfrm>
              <a:off x="1137048" y="1338784"/>
              <a:ext cx="2226807" cy="1840336"/>
            </a:xfrm>
            <a:prstGeom prst="halfFrame">
              <a:avLst>
                <a:gd name="adj1" fmla="val 14113"/>
                <a:gd name="adj2" fmla="val 14114"/>
              </a:avLst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solidFill>
                  <a:schemeClr val="tx1"/>
                </a:solidFill>
              </a:endParaRPr>
            </a:p>
          </p:txBody>
        </p:sp>
        <p:sp>
          <p:nvSpPr>
            <p:cNvPr id="6" name="Half Frame 10"/>
            <p:cNvSpPr/>
            <p:nvPr/>
          </p:nvSpPr>
          <p:spPr>
            <a:xfrm rot="10800000">
              <a:off x="12535208" y="6021039"/>
              <a:ext cx="2226807" cy="1840336"/>
            </a:xfrm>
            <a:prstGeom prst="halfFrame">
              <a:avLst>
                <a:gd name="adj1" fmla="val 14113"/>
                <a:gd name="adj2" fmla="val 14114"/>
              </a:avLst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>
                <a:solidFill>
                  <a:schemeClr val="tx1"/>
                </a:solidFill>
              </a:endParaRPr>
            </a:p>
          </p:txBody>
        </p:sp>
      </p:grpSp>
      <p:sp>
        <p:nvSpPr>
          <p:cNvPr id="7" name="Oval 29"/>
          <p:cNvSpPr/>
          <p:nvPr userDrawn="1"/>
        </p:nvSpPr>
        <p:spPr>
          <a:xfrm>
            <a:off x="12152730" y="10209414"/>
            <a:ext cx="1800913" cy="18009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41"/>
          <p:cNvSpPr/>
          <p:nvPr userDrawn="1"/>
        </p:nvSpPr>
        <p:spPr>
          <a:xfrm>
            <a:off x="14572430" y="10209414"/>
            <a:ext cx="1800913" cy="180091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42"/>
          <p:cNvSpPr/>
          <p:nvPr userDrawn="1"/>
        </p:nvSpPr>
        <p:spPr>
          <a:xfrm>
            <a:off x="16992130" y="10209414"/>
            <a:ext cx="1800913" cy="1800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45"/>
          <p:cNvSpPr/>
          <p:nvPr userDrawn="1"/>
        </p:nvSpPr>
        <p:spPr>
          <a:xfrm>
            <a:off x="19411830" y="10209414"/>
            <a:ext cx="1800913" cy="180091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46"/>
          <p:cNvSpPr/>
          <p:nvPr userDrawn="1"/>
        </p:nvSpPr>
        <p:spPr>
          <a:xfrm>
            <a:off x="21831530" y="10209414"/>
            <a:ext cx="1800913" cy="180091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48"/>
          <p:cNvGrpSpPr/>
          <p:nvPr userDrawn="1"/>
        </p:nvGrpSpPr>
        <p:grpSpPr>
          <a:xfrm>
            <a:off x="19898015" y="10656813"/>
            <a:ext cx="905522" cy="906115"/>
            <a:chOff x="2524463" y="4766967"/>
            <a:chExt cx="618725" cy="618888"/>
          </a:xfrm>
          <a:solidFill>
            <a:schemeClr val="bg1"/>
          </a:solidFill>
        </p:grpSpPr>
        <p:sp>
          <p:nvSpPr>
            <p:cNvPr id="13" name="Freeform 67"/>
            <p:cNvSpPr>
              <a:spLocks noChangeArrowheads="1"/>
            </p:cNvSpPr>
            <p:nvPr/>
          </p:nvSpPr>
          <p:spPr bwMode="auto">
            <a:xfrm>
              <a:off x="2704225" y="4779511"/>
              <a:ext cx="117056" cy="117086"/>
            </a:xfrm>
            <a:custGeom>
              <a:avLst/>
              <a:gdLst>
                <a:gd name="T0" fmla="*/ 0 w 123"/>
                <a:gd name="T1" fmla="*/ 122 h 123"/>
                <a:gd name="T2" fmla="*/ 0 w 123"/>
                <a:gd name="T3" fmla="*/ 122 h 123"/>
                <a:gd name="T4" fmla="*/ 122 w 123"/>
                <a:gd name="T5" fmla="*/ 122 h 123"/>
                <a:gd name="T6" fmla="*/ 122 w 123"/>
                <a:gd name="T7" fmla="*/ 0 h 123"/>
                <a:gd name="T8" fmla="*/ 0 w 123"/>
                <a:gd name="T9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0" y="122"/>
                  </a:moveTo>
                  <a:lnTo>
                    <a:pt x="0" y="122"/>
                  </a:lnTo>
                  <a:cubicBezTo>
                    <a:pt x="122" y="122"/>
                    <a:pt x="122" y="122"/>
                    <a:pt x="122" y="122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68" y="0"/>
                    <a:pt x="26" y="54"/>
                    <a:pt x="0" y="122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15" name="Freeform 68"/>
            <p:cNvSpPr>
              <a:spLocks noChangeArrowheads="1"/>
            </p:cNvSpPr>
            <p:nvPr/>
          </p:nvSpPr>
          <p:spPr bwMode="auto">
            <a:xfrm>
              <a:off x="2666603" y="4934235"/>
              <a:ext cx="154681" cy="129630"/>
            </a:xfrm>
            <a:custGeom>
              <a:avLst/>
              <a:gdLst>
                <a:gd name="T0" fmla="*/ 163 w 164"/>
                <a:gd name="T1" fmla="*/ 136 h 137"/>
                <a:gd name="T2" fmla="*/ 163 w 164"/>
                <a:gd name="T3" fmla="*/ 136 h 137"/>
                <a:gd name="T4" fmla="*/ 163 w 164"/>
                <a:gd name="T5" fmla="*/ 0 h 137"/>
                <a:gd name="T6" fmla="*/ 27 w 164"/>
                <a:gd name="T7" fmla="*/ 0 h 137"/>
                <a:gd name="T8" fmla="*/ 0 w 164"/>
                <a:gd name="T9" fmla="*/ 136 h 137"/>
                <a:gd name="T10" fmla="*/ 163 w 164"/>
                <a:gd name="T11" fmla="*/ 13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37">
                  <a:moveTo>
                    <a:pt x="163" y="136"/>
                  </a:moveTo>
                  <a:lnTo>
                    <a:pt x="163" y="136"/>
                  </a:lnTo>
                  <a:cubicBezTo>
                    <a:pt x="163" y="0"/>
                    <a:pt x="163" y="0"/>
                    <a:pt x="16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13" y="40"/>
                    <a:pt x="0" y="82"/>
                    <a:pt x="0" y="136"/>
                  </a:cubicBezTo>
                  <a:lnTo>
                    <a:pt x="163" y="136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16" name="Freeform 69"/>
            <p:cNvSpPr>
              <a:spLocks noChangeArrowheads="1"/>
            </p:cNvSpPr>
            <p:nvPr/>
          </p:nvSpPr>
          <p:spPr bwMode="auto">
            <a:xfrm>
              <a:off x="2850546" y="4779511"/>
              <a:ext cx="117056" cy="117086"/>
            </a:xfrm>
            <a:custGeom>
              <a:avLst/>
              <a:gdLst>
                <a:gd name="T0" fmla="*/ 0 w 122"/>
                <a:gd name="T1" fmla="*/ 0 h 123"/>
                <a:gd name="T2" fmla="*/ 0 w 122"/>
                <a:gd name="T3" fmla="*/ 0 h 123"/>
                <a:gd name="T4" fmla="*/ 0 w 122"/>
                <a:gd name="T5" fmla="*/ 122 h 123"/>
                <a:gd name="T6" fmla="*/ 121 w 122"/>
                <a:gd name="T7" fmla="*/ 122 h 123"/>
                <a:gd name="T8" fmla="*/ 0 w 122"/>
                <a:gd name="T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23">
                  <a:moveTo>
                    <a:pt x="0" y="0"/>
                  </a:moveTo>
                  <a:lnTo>
                    <a:pt x="0" y="0"/>
                  </a:lnTo>
                  <a:cubicBezTo>
                    <a:pt x="0" y="122"/>
                    <a:pt x="0" y="122"/>
                    <a:pt x="0" y="122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95" y="54"/>
                    <a:pt x="41" y="0"/>
                    <a:pt x="0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17" name="Freeform 70"/>
            <p:cNvSpPr>
              <a:spLocks noChangeArrowheads="1"/>
            </p:cNvSpPr>
            <p:nvPr/>
          </p:nvSpPr>
          <p:spPr bwMode="auto">
            <a:xfrm>
              <a:off x="2524463" y="5088955"/>
              <a:ext cx="142140" cy="142175"/>
            </a:xfrm>
            <a:custGeom>
              <a:avLst/>
              <a:gdLst>
                <a:gd name="T0" fmla="*/ 122 w 151"/>
                <a:gd name="T1" fmla="*/ 0 h 150"/>
                <a:gd name="T2" fmla="*/ 122 w 151"/>
                <a:gd name="T3" fmla="*/ 0 h 150"/>
                <a:gd name="T4" fmla="*/ 0 w 151"/>
                <a:gd name="T5" fmla="*/ 0 h 150"/>
                <a:gd name="T6" fmla="*/ 42 w 151"/>
                <a:gd name="T7" fmla="*/ 149 h 150"/>
                <a:gd name="T8" fmla="*/ 42 w 151"/>
                <a:gd name="T9" fmla="*/ 149 h 150"/>
                <a:gd name="T10" fmla="*/ 150 w 151"/>
                <a:gd name="T11" fmla="*/ 149 h 150"/>
                <a:gd name="T12" fmla="*/ 122 w 151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50">
                  <a:moveTo>
                    <a:pt x="122" y="0"/>
                  </a:moveTo>
                  <a:lnTo>
                    <a:pt x="122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54"/>
                    <a:pt x="14" y="109"/>
                    <a:pt x="42" y="149"/>
                  </a:cubicBezTo>
                  <a:lnTo>
                    <a:pt x="42" y="149"/>
                  </a:lnTo>
                  <a:cubicBezTo>
                    <a:pt x="150" y="149"/>
                    <a:pt x="150" y="149"/>
                    <a:pt x="150" y="149"/>
                  </a:cubicBezTo>
                  <a:cubicBezTo>
                    <a:pt x="136" y="109"/>
                    <a:pt x="122" y="54"/>
                    <a:pt x="122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18" name="Freeform 71"/>
            <p:cNvSpPr>
              <a:spLocks noChangeArrowheads="1"/>
            </p:cNvSpPr>
            <p:nvPr/>
          </p:nvSpPr>
          <p:spPr bwMode="auto">
            <a:xfrm>
              <a:off x="3001048" y="5088955"/>
              <a:ext cx="142140" cy="142175"/>
            </a:xfrm>
            <a:custGeom>
              <a:avLst/>
              <a:gdLst>
                <a:gd name="T0" fmla="*/ 14 w 150"/>
                <a:gd name="T1" fmla="*/ 0 h 150"/>
                <a:gd name="T2" fmla="*/ 14 w 150"/>
                <a:gd name="T3" fmla="*/ 0 h 150"/>
                <a:gd name="T4" fmla="*/ 0 w 150"/>
                <a:gd name="T5" fmla="*/ 149 h 150"/>
                <a:gd name="T6" fmla="*/ 95 w 150"/>
                <a:gd name="T7" fmla="*/ 149 h 150"/>
                <a:gd name="T8" fmla="*/ 109 w 150"/>
                <a:gd name="T9" fmla="*/ 149 h 150"/>
                <a:gd name="T10" fmla="*/ 149 w 150"/>
                <a:gd name="T11" fmla="*/ 0 h 150"/>
                <a:gd name="T12" fmla="*/ 14 w 150"/>
                <a:gd name="T1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50">
                  <a:moveTo>
                    <a:pt x="14" y="0"/>
                  </a:moveTo>
                  <a:lnTo>
                    <a:pt x="14" y="0"/>
                  </a:lnTo>
                  <a:cubicBezTo>
                    <a:pt x="14" y="54"/>
                    <a:pt x="0" y="109"/>
                    <a:pt x="0" y="149"/>
                  </a:cubicBezTo>
                  <a:cubicBezTo>
                    <a:pt x="95" y="149"/>
                    <a:pt x="95" y="149"/>
                    <a:pt x="95" y="149"/>
                  </a:cubicBezTo>
                  <a:lnTo>
                    <a:pt x="109" y="149"/>
                  </a:lnTo>
                  <a:cubicBezTo>
                    <a:pt x="122" y="109"/>
                    <a:pt x="149" y="54"/>
                    <a:pt x="149" y="0"/>
                  </a:cubicBez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19" name="Freeform 72"/>
            <p:cNvSpPr>
              <a:spLocks noChangeArrowheads="1"/>
            </p:cNvSpPr>
            <p:nvPr/>
          </p:nvSpPr>
          <p:spPr bwMode="auto">
            <a:xfrm>
              <a:off x="2666603" y="5088955"/>
              <a:ext cx="154681" cy="142175"/>
            </a:xfrm>
            <a:custGeom>
              <a:avLst/>
              <a:gdLst>
                <a:gd name="T0" fmla="*/ 163 w 164"/>
                <a:gd name="T1" fmla="*/ 0 h 150"/>
                <a:gd name="T2" fmla="*/ 163 w 164"/>
                <a:gd name="T3" fmla="*/ 0 h 150"/>
                <a:gd name="T4" fmla="*/ 0 w 164"/>
                <a:gd name="T5" fmla="*/ 0 h 150"/>
                <a:gd name="T6" fmla="*/ 27 w 164"/>
                <a:gd name="T7" fmla="*/ 149 h 150"/>
                <a:gd name="T8" fmla="*/ 163 w 164"/>
                <a:gd name="T9" fmla="*/ 149 h 150"/>
                <a:gd name="T10" fmla="*/ 163 w 164"/>
                <a:gd name="T11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50">
                  <a:moveTo>
                    <a:pt x="163" y="0"/>
                  </a:moveTo>
                  <a:lnTo>
                    <a:pt x="163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54"/>
                    <a:pt x="13" y="109"/>
                    <a:pt x="27" y="149"/>
                  </a:cubicBezTo>
                  <a:cubicBezTo>
                    <a:pt x="163" y="149"/>
                    <a:pt x="163" y="149"/>
                    <a:pt x="163" y="149"/>
                  </a:cubicBezTo>
                  <a:lnTo>
                    <a:pt x="16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0" name="Freeform 73"/>
            <p:cNvSpPr>
              <a:spLocks noChangeArrowheads="1"/>
            </p:cNvSpPr>
            <p:nvPr/>
          </p:nvSpPr>
          <p:spPr bwMode="auto">
            <a:xfrm>
              <a:off x="2524463" y="4921688"/>
              <a:ext cx="142140" cy="142175"/>
            </a:xfrm>
            <a:custGeom>
              <a:avLst/>
              <a:gdLst>
                <a:gd name="T0" fmla="*/ 122 w 151"/>
                <a:gd name="T1" fmla="*/ 150 h 151"/>
                <a:gd name="T2" fmla="*/ 122 w 151"/>
                <a:gd name="T3" fmla="*/ 150 h 151"/>
                <a:gd name="T4" fmla="*/ 150 w 151"/>
                <a:gd name="T5" fmla="*/ 14 h 151"/>
                <a:gd name="T6" fmla="*/ 42 w 151"/>
                <a:gd name="T7" fmla="*/ 14 h 151"/>
                <a:gd name="T8" fmla="*/ 42 w 151"/>
                <a:gd name="T9" fmla="*/ 0 h 151"/>
                <a:gd name="T10" fmla="*/ 0 w 151"/>
                <a:gd name="T11" fmla="*/ 150 h 151"/>
                <a:gd name="T12" fmla="*/ 122 w 151"/>
                <a:gd name="T13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51">
                  <a:moveTo>
                    <a:pt x="122" y="150"/>
                  </a:moveTo>
                  <a:lnTo>
                    <a:pt x="122" y="150"/>
                  </a:lnTo>
                  <a:cubicBezTo>
                    <a:pt x="122" y="96"/>
                    <a:pt x="136" y="54"/>
                    <a:pt x="150" y="14"/>
                  </a:cubicBezTo>
                  <a:cubicBezTo>
                    <a:pt x="42" y="14"/>
                    <a:pt x="42" y="14"/>
                    <a:pt x="42" y="14"/>
                  </a:cubicBezTo>
                  <a:lnTo>
                    <a:pt x="42" y="0"/>
                  </a:lnTo>
                  <a:cubicBezTo>
                    <a:pt x="14" y="54"/>
                    <a:pt x="0" y="96"/>
                    <a:pt x="0" y="150"/>
                  </a:cubicBezTo>
                  <a:lnTo>
                    <a:pt x="122" y="15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1" name="Freeform 74"/>
            <p:cNvSpPr>
              <a:spLocks noChangeArrowheads="1"/>
            </p:cNvSpPr>
            <p:nvPr/>
          </p:nvSpPr>
          <p:spPr bwMode="auto">
            <a:xfrm>
              <a:off x="2850547" y="4934235"/>
              <a:ext cx="142140" cy="129630"/>
            </a:xfrm>
            <a:custGeom>
              <a:avLst/>
              <a:gdLst>
                <a:gd name="T0" fmla="*/ 149 w 150"/>
                <a:gd name="T1" fmla="*/ 136 h 137"/>
                <a:gd name="T2" fmla="*/ 149 w 150"/>
                <a:gd name="T3" fmla="*/ 136 h 137"/>
                <a:gd name="T4" fmla="*/ 121 w 150"/>
                <a:gd name="T5" fmla="*/ 0 h 137"/>
                <a:gd name="T6" fmla="*/ 0 w 150"/>
                <a:gd name="T7" fmla="*/ 0 h 137"/>
                <a:gd name="T8" fmla="*/ 0 w 150"/>
                <a:gd name="T9" fmla="*/ 136 h 137"/>
                <a:gd name="T10" fmla="*/ 149 w 150"/>
                <a:gd name="T11" fmla="*/ 13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137">
                  <a:moveTo>
                    <a:pt x="149" y="136"/>
                  </a:moveTo>
                  <a:lnTo>
                    <a:pt x="149" y="136"/>
                  </a:lnTo>
                  <a:cubicBezTo>
                    <a:pt x="149" y="82"/>
                    <a:pt x="135" y="40"/>
                    <a:pt x="1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149" y="136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2" name="Freeform 75"/>
            <p:cNvSpPr>
              <a:spLocks noChangeArrowheads="1"/>
            </p:cNvSpPr>
            <p:nvPr/>
          </p:nvSpPr>
          <p:spPr bwMode="auto">
            <a:xfrm>
              <a:off x="2574630" y="4766967"/>
              <a:ext cx="183944" cy="129630"/>
            </a:xfrm>
            <a:custGeom>
              <a:avLst/>
              <a:gdLst>
                <a:gd name="T0" fmla="*/ 109 w 192"/>
                <a:gd name="T1" fmla="*/ 136 h 137"/>
                <a:gd name="T2" fmla="*/ 109 w 192"/>
                <a:gd name="T3" fmla="*/ 136 h 137"/>
                <a:gd name="T4" fmla="*/ 191 w 192"/>
                <a:gd name="T5" fmla="*/ 0 h 137"/>
                <a:gd name="T6" fmla="*/ 0 w 192"/>
                <a:gd name="T7" fmla="*/ 136 h 137"/>
                <a:gd name="T8" fmla="*/ 109 w 192"/>
                <a:gd name="T9" fmla="*/ 13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37">
                  <a:moveTo>
                    <a:pt x="109" y="136"/>
                  </a:moveTo>
                  <a:lnTo>
                    <a:pt x="109" y="136"/>
                  </a:lnTo>
                  <a:cubicBezTo>
                    <a:pt x="123" y="82"/>
                    <a:pt x="151" y="28"/>
                    <a:pt x="191" y="0"/>
                  </a:cubicBezTo>
                  <a:cubicBezTo>
                    <a:pt x="109" y="28"/>
                    <a:pt x="42" y="82"/>
                    <a:pt x="0" y="136"/>
                  </a:cubicBezTo>
                  <a:lnTo>
                    <a:pt x="109" y="136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3" name="Freeform 76"/>
            <p:cNvSpPr>
              <a:spLocks noChangeArrowheads="1"/>
            </p:cNvSpPr>
            <p:nvPr/>
          </p:nvSpPr>
          <p:spPr bwMode="auto">
            <a:xfrm>
              <a:off x="2574630" y="5256222"/>
              <a:ext cx="183944" cy="129633"/>
            </a:xfrm>
            <a:custGeom>
              <a:avLst/>
              <a:gdLst>
                <a:gd name="T0" fmla="*/ 109 w 192"/>
                <a:gd name="T1" fmla="*/ 0 h 136"/>
                <a:gd name="T2" fmla="*/ 109 w 192"/>
                <a:gd name="T3" fmla="*/ 0 h 136"/>
                <a:gd name="T4" fmla="*/ 0 w 192"/>
                <a:gd name="T5" fmla="*/ 0 h 136"/>
                <a:gd name="T6" fmla="*/ 191 w 192"/>
                <a:gd name="T7" fmla="*/ 135 h 136"/>
                <a:gd name="T8" fmla="*/ 109 w 192"/>
                <a:gd name="T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36">
                  <a:moveTo>
                    <a:pt x="109" y="0"/>
                  </a:moveTo>
                  <a:lnTo>
                    <a:pt x="109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42" y="67"/>
                    <a:pt x="109" y="121"/>
                    <a:pt x="191" y="135"/>
                  </a:cubicBezTo>
                  <a:cubicBezTo>
                    <a:pt x="151" y="109"/>
                    <a:pt x="123" y="67"/>
                    <a:pt x="109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4" name="Freeform 77"/>
            <p:cNvSpPr>
              <a:spLocks noChangeArrowheads="1"/>
            </p:cNvSpPr>
            <p:nvPr/>
          </p:nvSpPr>
          <p:spPr bwMode="auto">
            <a:xfrm>
              <a:off x="2900713" y="4766967"/>
              <a:ext cx="179762" cy="129630"/>
            </a:xfrm>
            <a:custGeom>
              <a:avLst/>
              <a:gdLst>
                <a:gd name="T0" fmla="*/ 95 w 191"/>
                <a:gd name="T1" fmla="*/ 136 h 137"/>
                <a:gd name="T2" fmla="*/ 95 w 191"/>
                <a:gd name="T3" fmla="*/ 136 h 137"/>
                <a:gd name="T4" fmla="*/ 190 w 191"/>
                <a:gd name="T5" fmla="*/ 136 h 137"/>
                <a:gd name="T6" fmla="*/ 0 w 191"/>
                <a:gd name="T7" fmla="*/ 0 h 137"/>
                <a:gd name="T8" fmla="*/ 95 w 191"/>
                <a:gd name="T9" fmla="*/ 13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37">
                  <a:moveTo>
                    <a:pt x="95" y="136"/>
                  </a:moveTo>
                  <a:lnTo>
                    <a:pt x="95" y="136"/>
                  </a:lnTo>
                  <a:cubicBezTo>
                    <a:pt x="190" y="136"/>
                    <a:pt x="190" y="136"/>
                    <a:pt x="190" y="136"/>
                  </a:cubicBezTo>
                  <a:cubicBezTo>
                    <a:pt x="150" y="82"/>
                    <a:pt x="81" y="28"/>
                    <a:pt x="0" y="0"/>
                  </a:cubicBezTo>
                  <a:cubicBezTo>
                    <a:pt x="41" y="28"/>
                    <a:pt x="67" y="82"/>
                    <a:pt x="95" y="136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5" name="Freeform 78"/>
            <p:cNvSpPr>
              <a:spLocks noChangeArrowheads="1"/>
            </p:cNvSpPr>
            <p:nvPr/>
          </p:nvSpPr>
          <p:spPr bwMode="auto">
            <a:xfrm>
              <a:off x="2900713" y="5256222"/>
              <a:ext cx="179762" cy="129633"/>
            </a:xfrm>
            <a:custGeom>
              <a:avLst/>
              <a:gdLst>
                <a:gd name="T0" fmla="*/ 95 w 191"/>
                <a:gd name="T1" fmla="*/ 0 h 136"/>
                <a:gd name="T2" fmla="*/ 95 w 191"/>
                <a:gd name="T3" fmla="*/ 0 h 136"/>
                <a:gd name="T4" fmla="*/ 0 w 191"/>
                <a:gd name="T5" fmla="*/ 135 h 136"/>
                <a:gd name="T6" fmla="*/ 190 w 191"/>
                <a:gd name="T7" fmla="*/ 0 h 136"/>
                <a:gd name="T8" fmla="*/ 95 w 191"/>
                <a:gd name="T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36">
                  <a:moveTo>
                    <a:pt x="95" y="0"/>
                  </a:moveTo>
                  <a:lnTo>
                    <a:pt x="95" y="0"/>
                  </a:lnTo>
                  <a:cubicBezTo>
                    <a:pt x="67" y="67"/>
                    <a:pt x="41" y="109"/>
                    <a:pt x="0" y="135"/>
                  </a:cubicBezTo>
                  <a:cubicBezTo>
                    <a:pt x="81" y="121"/>
                    <a:pt x="150" y="67"/>
                    <a:pt x="190" y="0"/>
                  </a:cubicBezTo>
                  <a:lnTo>
                    <a:pt x="95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6" name="Freeform 79"/>
            <p:cNvSpPr>
              <a:spLocks noChangeArrowheads="1"/>
            </p:cNvSpPr>
            <p:nvPr/>
          </p:nvSpPr>
          <p:spPr bwMode="auto">
            <a:xfrm>
              <a:off x="3001048" y="4921688"/>
              <a:ext cx="142140" cy="142175"/>
            </a:xfrm>
            <a:custGeom>
              <a:avLst/>
              <a:gdLst>
                <a:gd name="T0" fmla="*/ 95 w 150"/>
                <a:gd name="T1" fmla="*/ 14 h 151"/>
                <a:gd name="T2" fmla="*/ 95 w 150"/>
                <a:gd name="T3" fmla="*/ 14 h 151"/>
                <a:gd name="T4" fmla="*/ 0 w 150"/>
                <a:gd name="T5" fmla="*/ 14 h 151"/>
                <a:gd name="T6" fmla="*/ 14 w 150"/>
                <a:gd name="T7" fmla="*/ 150 h 151"/>
                <a:gd name="T8" fmla="*/ 149 w 150"/>
                <a:gd name="T9" fmla="*/ 150 h 151"/>
                <a:gd name="T10" fmla="*/ 109 w 150"/>
                <a:gd name="T11" fmla="*/ 0 h 151"/>
                <a:gd name="T12" fmla="*/ 95 w 150"/>
                <a:gd name="T13" fmla="*/ 1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51">
                  <a:moveTo>
                    <a:pt x="95" y="14"/>
                  </a:moveTo>
                  <a:lnTo>
                    <a:pt x="95" y="14"/>
                  </a:lnTo>
                  <a:cubicBezTo>
                    <a:pt x="0" y="14"/>
                    <a:pt x="0" y="14"/>
                    <a:pt x="0" y="14"/>
                  </a:cubicBezTo>
                  <a:cubicBezTo>
                    <a:pt x="0" y="54"/>
                    <a:pt x="14" y="96"/>
                    <a:pt x="14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96"/>
                    <a:pt x="122" y="54"/>
                    <a:pt x="109" y="0"/>
                  </a:cubicBezTo>
                  <a:lnTo>
                    <a:pt x="95" y="1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7" name="Freeform 80"/>
            <p:cNvSpPr>
              <a:spLocks noChangeArrowheads="1"/>
            </p:cNvSpPr>
            <p:nvPr/>
          </p:nvSpPr>
          <p:spPr bwMode="auto">
            <a:xfrm>
              <a:off x="2850546" y="5256222"/>
              <a:ext cx="117056" cy="129633"/>
            </a:xfrm>
            <a:custGeom>
              <a:avLst/>
              <a:gdLst>
                <a:gd name="T0" fmla="*/ 121 w 122"/>
                <a:gd name="T1" fmla="*/ 0 h 136"/>
                <a:gd name="T2" fmla="*/ 121 w 122"/>
                <a:gd name="T3" fmla="*/ 0 h 136"/>
                <a:gd name="T4" fmla="*/ 0 w 122"/>
                <a:gd name="T5" fmla="*/ 0 h 136"/>
                <a:gd name="T6" fmla="*/ 0 w 122"/>
                <a:gd name="T7" fmla="*/ 135 h 136"/>
                <a:gd name="T8" fmla="*/ 121 w 122"/>
                <a:gd name="T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36">
                  <a:moveTo>
                    <a:pt x="121" y="0"/>
                  </a:moveTo>
                  <a:lnTo>
                    <a:pt x="121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41" y="135"/>
                    <a:pt x="95" y="81"/>
                    <a:pt x="121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8" name="Freeform 81"/>
            <p:cNvSpPr>
              <a:spLocks noChangeArrowheads="1"/>
            </p:cNvSpPr>
            <p:nvPr/>
          </p:nvSpPr>
          <p:spPr bwMode="auto">
            <a:xfrm>
              <a:off x="2850547" y="5088955"/>
              <a:ext cx="142140" cy="142175"/>
            </a:xfrm>
            <a:custGeom>
              <a:avLst/>
              <a:gdLst>
                <a:gd name="T0" fmla="*/ 0 w 150"/>
                <a:gd name="T1" fmla="*/ 0 h 150"/>
                <a:gd name="T2" fmla="*/ 0 w 150"/>
                <a:gd name="T3" fmla="*/ 0 h 150"/>
                <a:gd name="T4" fmla="*/ 0 w 150"/>
                <a:gd name="T5" fmla="*/ 149 h 150"/>
                <a:gd name="T6" fmla="*/ 121 w 150"/>
                <a:gd name="T7" fmla="*/ 149 h 150"/>
                <a:gd name="T8" fmla="*/ 149 w 150"/>
                <a:gd name="T9" fmla="*/ 0 h 150"/>
                <a:gd name="T10" fmla="*/ 0 w 150"/>
                <a:gd name="T11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150">
                  <a:moveTo>
                    <a:pt x="0" y="0"/>
                  </a:moveTo>
                  <a:lnTo>
                    <a:pt x="0" y="0"/>
                  </a:lnTo>
                  <a:cubicBezTo>
                    <a:pt x="0" y="149"/>
                    <a:pt x="0" y="149"/>
                    <a:pt x="0" y="149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135" y="109"/>
                    <a:pt x="149" y="54"/>
                    <a:pt x="149" y="0"/>
                  </a:cubicBez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29" name="Freeform 82"/>
            <p:cNvSpPr>
              <a:spLocks noChangeArrowheads="1"/>
            </p:cNvSpPr>
            <p:nvPr/>
          </p:nvSpPr>
          <p:spPr bwMode="auto">
            <a:xfrm>
              <a:off x="2704225" y="5256222"/>
              <a:ext cx="117056" cy="129633"/>
            </a:xfrm>
            <a:custGeom>
              <a:avLst/>
              <a:gdLst>
                <a:gd name="T0" fmla="*/ 122 w 123"/>
                <a:gd name="T1" fmla="*/ 135 h 136"/>
                <a:gd name="T2" fmla="*/ 122 w 123"/>
                <a:gd name="T3" fmla="*/ 135 h 136"/>
                <a:gd name="T4" fmla="*/ 122 w 123"/>
                <a:gd name="T5" fmla="*/ 0 h 136"/>
                <a:gd name="T6" fmla="*/ 0 w 123"/>
                <a:gd name="T7" fmla="*/ 0 h 136"/>
                <a:gd name="T8" fmla="*/ 122 w 123"/>
                <a:gd name="T9" fmla="*/ 13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36">
                  <a:moveTo>
                    <a:pt x="122" y="135"/>
                  </a:moveTo>
                  <a:lnTo>
                    <a:pt x="122" y="135"/>
                  </a:ln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81"/>
                    <a:pt x="68" y="135"/>
                    <a:pt x="122" y="13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</p:grpSp>
      <p:sp>
        <p:nvSpPr>
          <p:cNvPr id="30" name="Freeform 182"/>
          <p:cNvSpPr>
            <a:spLocks noChangeArrowheads="1"/>
          </p:cNvSpPr>
          <p:nvPr userDrawn="1"/>
        </p:nvSpPr>
        <p:spPr bwMode="auto">
          <a:xfrm>
            <a:off x="12655868" y="10697914"/>
            <a:ext cx="823591" cy="823913"/>
          </a:xfrm>
          <a:custGeom>
            <a:avLst/>
            <a:gdLst>
              <a:gd name="T0" fmla="*/ 822259 w 654"/>
              <a:gd name="T1" fmla="*/ 0 h 654"/>
              <a:gd name="T2" fmla="*/ 0 w 654"/>
              <a:gd name="T3" fmla="*/ 17633 h 654"/>
              <a:gd name="T4" fmla="*/ 0 w 654"/>
              <a:gd name="T5" fmla="*/ 822474 h 654"/>
              <a:gd name="T6" fmla="*/ 342503 w 654"/>
              <a:gd name="T7" fmla="*/ 822474 h 654"/>
              <a:gd name="T8" fmla="*/ 478497 w 654"/>
              <a:gd name="T9" fmla="*/ 566789 h 654"/>
              <a:gd name="T10" fmla="*/ 478497 w 654"/>
              <a:gd name="T11" fmla="*/ 822474 h 654"/>
              <a:gd name="T12" fmla="*/ 822259 w 654"/>
              <a:gd name="T13" fmla="*/ 822474 h 654"/>
              <a:gd name="T14" fmla="*/ 822259 w 654"/>
              <a:gd name="T15" fmla="*/ 0 h 654"/>
              <a:gd name="T16" fmla="*/ 222879 w 654"/>
              <a:gd name="T17" fmla="*/ 566789 h 654"/>
              <a:gd name="T18" fmla="*/ 101995 w 654"/>
              <a:gd name="T19" fmla="*/ 702819 h 654"/>
              <a:gd name="T20" fmla="*/ 222879 w 654"/>
              <a:gd name="T21" fmla="*/ 566789 h 654"/>
              <a:gd name="T22" fmla="*/ 101995 w 654"/>
              <a:gd name="T23" fmla="*/ 463508 h 654"/>
              <a:gd name="T24" fmla="*/ 222879 w 654"/>
              <a:gd name="T25" fmla="*/ 326219 h 654"/>
              <a:gd name="T26" fmla="*/ 101995 w 654"/>
              <a:gd name="T27" fmla="*/ 463508 h 654"/>
              <a:gd name="T28" fmla="*/ 101995 w 654"/>
              <a:gd name="T29" fmla="*/ 222937 h 654"/>
              <a:gd name="T30" fmla="*/ 222879 w 654"/>
              <a:gd name="T31" fmla="*/ 85648 h 654"/>
              <a:gd name="T32" fmla="*/ 101995 w 654"/>
              <a:gd name="T33" fmla="*/ 222937 h 654"/>
              <a:gd name="T34" fmla="*/ 478497 w 654"/>
              <a:gd name="T35" fmla="*/ 326219 h 654"/>
              <a:gd name="T36" fmla="*/ 342503 w 654"/>
              <a:gd name="T37" fmla="*/ 463508 h 654"/>
              <a:gd name="T38" fmla="*/ 478497 w 654"/>
              <a:gd name="T39" fmla="*/ 326219 h 654"/>
              <a:gd name="T40" fmla="*/ 342503 w 654"/>
              <a:gd name="T41" fmla="*/ 222937 h 654"/>
              <a:gd name="T42" fmla="*/ 478497 w 654"/>
              <a:gd name="T43" fmla="*/ 85648 h 654"/>
              <a:gd name="T44" fmla="*/ 342503 w 654"/>
              <a:gd name="T45" fmla="*/ 222937 h 654"/>
              <a:gd name="T46" fmla="*/ 719004 w 654"/>
              <a:gd name="T47" fmla="*/ 566789 h 654"/>
              <a:gd name="T48" fmla="*/ 599380 w 654"/>
              <a:gd name="T49" fmla="*/ 702819 h 654"/>
              <a:gd name="T50" fmla="*/ 719004 w 654"/>
              <a:gd name="T51" fmla="*/ 566789 h 654"/>
              <a:gd name="T52" fmla="*/ 599380 w 654"/>
              <a:gd name="T53" fmla="*/ 463508 h 654"/>
              <a:gd name="T54" fmla="*/ 719004 w 654"/>
              <a:gd name="T55" fmla="*/ 326219 h 654"/>
              <a:gd name="T56" fmla="*/ 599380 w 654"/>
              <a:gd name="T57" fmla="*/ 463508 h 654"/>
              <a:gd name="T58" fmla="*/ 599380 w 654"/>
              <a:gd name="T59" fmla="*/ 222937 h 654"/>
              <a:gd name="T60" fmla="*/ 719004 w 654"/>
              <a:gd name="T61" fmla="*/ 85648 h 654"/>
              <a:gd name="T62" fmla="*/ 599380 w 654"/>
              <a:gd name="T63" fmla="*/ 222937 h 6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654" h="654">
                <a:moveTo>
                  <a:pt x="653" y="0"/>
                </a:moveTo>
                <a:lnTo>
                  <a:pt x="653" y="0"/>
                </a:ln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14"/>
                </a:cubicBezTo>
                <a:cubicBezTo>
                  <a:pt x="0" y="653"/>
                  <a:pt x="0" y="653"/>
                  <a:pt x="0" y="653"/>
                </a:cubicBezTo>
                <a:cubicBezTo>
                  <a:pt x="272" y="653"/>
                  <a:pt x="272" y="653"/>
                  <a:pt x="272" y="653"/>
                </a:cubicBezTo>
                <a:cubicBezTo>
                  <a:pt x="272" y="450"/>
                  <a:pt x="272" y="450"/>
                  <a:pt x="272" y="450"/>
                </a:cubicBezTo>
                <a:cubicBezTo>
                  <a:pt x="380" y="450"/>
                  <a:pt x="380" y="450"/>
                  <a:pt x="380" y="450"/>
                </a:cubicBezTo>
                <a:cubicBezTo>
                  <a:pt x="380" y="653"/>
                  <a:pt x="380" y="653"/>
                  <a:pt x="380" y="653"/>
                </a:cubicBezTo>
                <a:cubicBezTo>
                  <a:pt x="653" y="653"/>
                  <a:pt x="653" y="653"/>
                  <a:pt x="653" y="653"/>
                </a:cubicBezTo>
                <a:cubicBezTo>
                  <a:pt x="653" y="14"/>
                  <a:pt x="653" y="14"/>
                  <a:pt x="653" y="14"/>
                </a:cubicBezTo>
                <a:cubicBezTo>
                  <a:pt x="653" y="0"/>
                  <a:pt x="653" y="0"/>
                  <a:pt x="653" y="0"/>
                </a:cubicBezTo>
                <a:close/>
                <a:moveTo>
                  <a:pt x="177" y="450"/>
                </a:moveTo>
                <a:lnTo>
                  <a:pt x="177" y="450"/>
                </a:lnTo>
                <a:cubicBezTo>
                  <a:pt x="177" y="558"/>
                  <a:pt x="177" y="558"/>
                  <a:pt x="177" y="558"/>
                </a:cubicBezTo>
                <a:cubicBezTo>
                  <a:pt x="81" y="558"/>
                  <a:pt x="81" y="558"/>
                  <a:pt x="81" y="558"/>
                </a:cubicBezTo>
                <a:cubicBezTo>
                  <a:pt x="81" y="450"/>
                  <a:pt x="81" y="450"/>
                  <a:pt x="81" y="450"/>
                </a:cubicBezTo>
                <a:lnTo>
                  <a:pt x="177" y="450"/>
                </a:lnTo>
                <a:close/>
                <a:moveTo>
                  <a:pt x="81" y="368"/>
                </a:moveTo>
                <a:lnTo>
                  <a:pt x="81" y="368"/>
                </a:lnTo>
                <a:cubicBezTo>
                  <a:pt x="81" y="259"/>
                  <a:pt x="81" y="259"/>
                  <a:pt x="81" y="259"/>
                </a:cubicBezTo>
                <a:cubicBezTo>
                  <a:pt x="177" y="259"/>
                  <a:pt x="177" y="259"/>
                  <a:pt x="177" y="259"/>
                </a:cubicBezTo>
                <a:cubicBezTo>
                  <a:pt x="177" y="368"/>
                  <a:pt x="177" y="368"/>
                  <a:pt x="177" y="368"/>
                </a:cubicBezTo>
                <a:lnTo>
                  <a:pt x="81" y="368"/>
                </a:lnTo>
                <a:close/>
                <a:moveTo>
                  <a:pt x="81" y="177"/>
                </a:moveTo>
                <a:lnTo>
                  <a:pt x="81" y="177"/>
                </a:lnTo>
                <a:cubicBezTo>
                  <a:pt x="81" y="68"/>
                  <a:pt x="81" y="68"/>
                  <a:pt x="81" y="68"/>
                </a:cubicBezTo>
                <a:cubicBezTo>
                  <a:pt x="177" y="68"/>
                  <a:pt x="177" y="68"/>
                  <a:pt x="177" y="68"/>
                </a:cubicBezTo>
                <a:cubicBezTo>
                  <a:pt x="177" y="177"/>
                  <a:pt x="177" y="177"/>
                  <a:pt x="177" y="177"/>
                </a:cubicBezTo>
                <a:lnTo>
                  <a:pt x="81" y="177"/>
                </a:lnTo>
                <a:close/>
                <a:moveTo>
                  <a:pt x="380" y="259"/>
                </a:moveTo>
                <a:lnTo>
                  <a:pt x="380" y="259"/>
                </a:lnTo>
                <a:cubicBezTo>
                  <a:pt x="380" y="368"/>
                  <a:pt x="380" y="368"/>
                  <a:pt x="380" y="368"/>
                </a:cubicBezTo>
                <a:cubicBezTo>
                  <a:pt x="272" y="368"/>
                  <a:pt x="272" y="368"/>
                  <a:pt x="272" y="368"/>
                </a:cubicBezTo>
                <a:cubicBezTo>
                  <a:pt x="272" y="259"/>
                  <a:pt x="272" y="259"/>
                  <a:pt x="272" y="259"/>
                </a:cubicBezTo>
                <a:lnTo>
                  <a:pt x="380" y="259"/>
                </a:lnTo>
                <a:close/>
                <a:moveTo>
                  <a:pt x="272" y="177"/>
                </a:moveTo>
                <a:lnTo>
                  <a:pt x="272" y="177"/>
                </a:lnTo>
                <a:cubicBezTo>
                  <a:pt x="272" y="68"/>
                  <a:pt x="272" y="68"/>
                  <a:pt x="272" y="68"/>
                </a:cubicBezTo>
                <a:cubicBezTo>
                  <a:pt x="380" y="68"/>
                  <a:pt x="380" y="68"/>
                  <a:pt x="380" y="68"/>
                </a:cubicBezTo>
                <a:cubicBezTo>
                  <a:pt x="380" y="177"/>
                  <a:pt x="380" y="177"/>
                  <a:pt x="380" y="177"/>
                </a:cubicBezTo>
                <a:lnTo>
                  <a:pt x="272" y="177"/>
                </a:lnTo>
                <a:close/>
                <a:moveTo>
                  <a:pt x="571" y="450"/>
                </a:moveTo>
                <a:lnTo>
                  <a:pt x="571" y="450"/>
                </a:lnTo>
                <a:cubicBezTo>
                  <a:pt x="571" y="558"/>
                  <a:pt x="571" y="558"/>
                  <a:pt x="571" y="558"/>
                </a:cubicBezTo>
                <a:cubicBezTo>
                  <a:pt x="476" y="558"/>
                  <a:pt x="476" y="558"/>
                  <a:pt x="476" y="558"/>
                </a:cubicBezTo>
                <a:cubicBezTo>
                  <a:pt x="476" y="450"/>
                  <a:pt x="476" y="450"/>
                  <a:pt x="476" y="450"/>
                </a:cubicBezTo>
                <a:lnTo>
                  <a:pt x="571" y="450"/>
                </a:lnTo>
                <a:close/>
                <a:moveTo>
                  <a:pt x="476" y="368"/>
                </a:moveTo>
                <a:lnTo>
                  <a:pt x="476" y="368"/>
                </a:lnTo>
                <a:cubicBezTo>
                  <a:pt x="476" y="259"/>
                  <a:pt x="476" y="259"/>
                  <a:pt x="476" y="259"/>
                </a:cubicBezTo>
                <a:cubicBezTo>
                  <a:pt x="571" y="259"/>
                  <a:pt x="571" y="259"/>
                  <a:pt x="571" y="259"/>
                </a:cubicBezTo>
                <a:cubicBezTo>
                  <a:pt x="571" y="368"/>
                  <a:pt x="571" y="368"/>
                  <a:pt x="571" y="368"/>
                </a:cubicBezTo>
                <a:lnTo>
                  <a:pt x="476" y="368"/>
                </a:lnTo>
                <a:close/>
                <a:moveTo>
                  <a:pt x="476" y="177"/>
                </a:moveTo>
                <a:lnTo>
                  <a:pt x="476" y="177"/>
                </a:lnTo>
                <a:cubicBezTo>
                  <a:pt x="476" y="68"/>
                  <a:pt x="476" y="68"/>
                  <a:pt x="476" y="68"/>
                </a:cubicBezTo>
                <a:cubicBezTo>
                  <a:pt x="571" y="68"/>
                  <a:pt x="571" y="68"/>
                  <a:pt x="571" y="68"/>
                </a:cubicBezTo>
                <a:cubicBezTo>
                  <a:pt x="571" y="177"/>
                  <a:pt x="571" y="177"/>
                  <a:pt x="571" y="177"/>
                </a:cubicBezTo>
                <a:lnTo>
                  <a:pt x="476" y="1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none" lIns="152366" tIns="76183" rIns="152366" bIns="76183" anchor="ctr"/>
          <a:lstStyle/>
          <a:p>
            <a:endParaRPr lang="en-US">
              <a:latin typeface="Lato Light"/>
              <a:cs typeface="Lato Light"/>
            </a:endParaRPr>
          </a:p>
        </p:txBody>
      </p:sp>
      <p:grpSp>
        <p:nvGrpSpPr>
          <p:cNvPr id="31" name="Group 67"/>
          <p:cNvGrpSpPr/>
          <p:nvPr userDrawn="1"/>
        </p:nvGrpSpPr>
        <p:grpSpPr>
          <a:xfrm>
            <a:off x="15094002" y="10695217"/>
            <a:ext cx="789823" cy="829307"/>
            <a:chOff x="6550342" y="10834538"/>
            <a:chExt cx="593638" cy="623070"/>
          </a:xfrm>
          <a:solidFill>
            <a:srgbClr val="FFFFFF"/>
          </a:solidFill>
        </p:grpSpPr>
        <p:sp>
          <p:nvSpPr>
            <p:cNvPr id="32" name="Freeform 220"/>
            <p:cNvSpPr>
              <a:spLocks noChangeArrowheads="1"/>
            </p:cNvSpPr>
            <p:nvPr/>
          </p:nvSpPr>
          <p:spPr bwMode="auto">
            <a:xfrm>
              <a:off x="6550342" y="10834540"/>
              <a:ext cx="209028" cy="401438"/>
            </a:xfrm>
            <a:custGeom>
              <a:avLst/>
              <a:gdLst>
                <a:gd name="T0" fmla="*/ 218 w 219"/>
                <a:gd name="T1" fmla="*/ 136 h 423"/>
                <a:gd name="T2" fmla="*/ 218 w 219"/>
                <a:gd name="T3" fmla="*/ 136 h 423"/>
                <a:gd name="T4" fmla="*/ 54 w 219"/>
                <a:gd name="T5" fmla="*/ 0 h 423"/>
                <a:gd name="T6" fmla="*/ 0 w 219"/>
                <a:gd name="T7" fmla="*/ 0 h 423"/>
                <a:gd name="T8" fmla="*/ 0 w 219"/>
                <a:gd name="T9" fmla="*/ 422 h 423"/>
                <a:gd name="T10" fmla="*/ 41 w 219"/>
                <a:gd name="T11" fmla="*/ 381 h 423"/>
                <a:gd name="T12" fmla="*/ 54 w 219"/>
                <a:gd name="T13" fmla="*/ 381 h 423"/>
                <a:gd name="T14" fmla="*/ 218 w 219"/>
                <a:gd name="T15" fmla="*/ 163 h 423"/>
                <a:gd name="T16" fmla="*/ 218 w 219"/>
                <a:gd name="T17" fmla="*/ 13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423">
                  <a:moveTo>
                    <a:pt x="218" y="136"/>
                  </a:moveTo>
                  <a:lnTo>
                    <a:pt x="218" y="136"/>
                  </a:lnTo>
                  <a:cubicBezTo>
                    <a:pt x="54" y="0"/>
                    <a:pt x="54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41" y="381"/>
                    <a:pt x="41" y="381"/>
                    <a:pt x="54" y="381"/>
                  </a:cubicBezTo>
                  <a:cubicBezTo>
                    <a:pt x="218" y="163"/>
                    <a:pt x="218" y="163"/>
                    <a:pt x="218" y="163"/>
                  </a:cubicBezTo>
                  <a:lnTo>
                    <a:pt x="218" y="136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3" name="Freeform 221"/>
            <p:cNvSpPr>
              <a:spLocks noChangeArrowheads="1"/>
            </p:cNvSpPr>
            <p:nvPr/>
          </p:nvSpPr>
          <p:spPr bwMode="auto">
            <a:xfrm>
              <a:off x="6654855" y="11311249"/>
              <a:ext cx="50167" cy="37636"/>
            </a:xfrm>
            <a:custGeom>
              <a:avLst/>
              <a:gdLst>
                <a:gd name="T0" fmla="*/ 26 w 55"/>
                <a:gd name="T1" fmla="*/ 0 h 41"/>
                <a:gd name="T2" fmla="*/ 26 w 55"/>
                <a:gd name="T3" fmla="*/ 0 h 41"/>
                <a:gd name="T4" fmla="*/ 12 w 55"/>
                <a:gd name="T5" fmla="*/ 0 h 41"/>
                <a:gd name="T6" fmla="*/ 12 w 55"/>
                <a:gd name="T7" fmla="*/ 27 h 41"/>
                <a:gd name="T8" fmla="*/ 40 w 55"/>
                <a:gd name="T9" fmla="*/ 27 h 41"/>
                <a:gd name="T10" fmla="*/ 40 w 55"/>
                <a:gd name="T11" fmla="*/ 0 h 41"/>
                <a:gd name="T12" fmla="*/ 26 w 55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41">
                  <a:moveTo>
                    <a:pt x="26" y="0"/>
                  </a:moveTo>
                  <a:lnTo>
                    <a:pt x="26" y="0"/>
                  </a:lnTo>
                  <a:lnTo>
                    <a:pt x="12" y="0"/>
                  </a:lnTo>
                  <a:cubicBezTo>
                    <a:pt x="0" y="12"/>
                    <a:pt x="12" y="27"/>
                    <a:pt x="12" y="27"/>
                  </a:cubicBezTo>
                  <a:cubicBezTo>
                    <a:pt x="26" y="40"/>
                    <a:pt x="40" y="40"/>
                    <a:pt x="40" y="27"/>
                  </a:cubicBezTo>
                  <a:cubicBezTo>
                    <a:pt x="54" y="12"/>
                    <a:pt x="54" y="0"/>
                    <a:pt x="40" y="0"/>
                  </a:cubicBezTo>
                  <a:cubicBezTo>
                    <a:pt x="40" y="0"/>
                    <a:pt x="40" y="0"/>
                    <a:pt x="26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4" name="Freeform 222"/>
            <p:cNvSpPr>
              <a:spLocks noChangeArrowheads="1"/>
            </p:cNvSpPr>
            <p:nvPr/>
          </p:nvSpPr>
          <p:spPr bwMode="auto">
            <a:xfrm>
              <a:off x="6604690" y="11261068"/>
              <a:ext cx="54346" cy="54363"/>
            </a:xfrm>
            <a:custGeom>
              <a:avLst/>
              <a:gdLst>
                <a:gd name="T0" fmla="*/ 28 w 57"/>
                <a:gd name="T1" fmla="*/ 0 h 56"/>
                <a:gd name="T2" fmla="*/ 28 w 57"/>
                <a:gd name="T3" fmla="*/ 0 h 56"/>
                <a:gd name="T4" fmla="*/ 14 w 57"/>
                <a:gd name="T5" fmla="*/ 13 h 56"/>
                <a:gd name="T6" fmla="*/ 14 w 57"/>
                <a:gd name="T7" fmla="*/ 41 h 56"/>
                <a:gd name="T8" fmla="*/ 42 w 57"/>
                <a:gd name="T9" fmla="*/ 41 h 56"/>
                <a:gd name="T10" fmla="*/ 42 w 57"/>
                <a:gd name="T11" fmla="*/ 13 h 56"/>
                <a:gd name="T12" fmla="*/ 28 w 57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56">
                  <a:moveTo>
                    <a:pt x="28" y="0"/>
                  </a:moveTo>
                  <a:lnTo>
                    <a:pt x="28" y="0"/>
                  </a:lnTo>
                  <a:lnTo>
                    <a:pt x="14" y="13"/>
                  </a:lnTo>
                  <a:cubicBezTo>
                    <a:pt x="0" y="27"/>
                    <a:pt x="14" y="41"/>
                    <a:pt x="14" y="41"/>
                  </a:cubicBezTo>
                  <a:cubicBezTo>
                    <a:pt x="28" y="55"/>
                    <a:pt x="42" y="55"/>
                    <a:pt x="42" y="41"/>
                  </a:cubicBezTo>
                  <a:cubicBezTo>
                    <a:pt x="56" y="27"/>
                    <a:pt x="56" y="13"/>
                    <a:pt x="42" y="13"/>
                  </a:cubicBezTo>
                  <a:cubicBezTo>
                    <a:pt x="42" y="0"/>
                    <a:pt x="42" y="0"/>
                    <a:pt x="28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5" name="Freeform 223"/>
            <p:cNvSpPr>
              <a:spLocks noChangeArrowheads="1"/>
            </p:cNvSpPr>
            <p:nvPr/>
          </p:nvSpPr>
          <p:spPr bwMode="auto">
            <a:xfrm>
              <a:off x="6964218" y="10834538"/>
              <a:ext cx="179762" cy="334532"/>
            </a:xfrm>
            <a:custGeom>
              <a:avLst/>
              <a:gdLst>
                <a:gd name="T0" fmla="*/ 108 w 191"/>
                <a:gd name="T1" fmla="*/ 0 h 354"/>
                <a:gd name="T2" fmla="*/ 0 w 191"/>
                <a:gd name="T3" fmla="*/ 122 h 354"/>
                <a:gd name="T4" fmla="*/ 190 w 191"/>
                <a:gd name="T5" fmla="*/ 353 h 354"/>
                <a:gd name="T6" fmla="*/ 190 w 191"/>
                <a:gd name="T7" fmla="*/ 0 h 354"/>
                <a:gd name="T8" fmla="*/ 108 w 191"/>
                <a:gd name="T9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354">
                  <a:moveTo>
                    <a:pt x="108" y="0"/>
                  </a:moveTo>
                  <a:lnTo>
                    <a:pt x="0" y="122"/>
                  </a:lnTo>
                  <a:lnTo>
                    <a:pt x="190" y="353"/>
                  </a:lnTo>
                  <a:lnTo>
                    <a:pt x="190" y="0"/>
                  </a:lnTo>
                  <a:lnTo>
                    <a:pt x="108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6" name="Freeform 224"/>
            <p:cNvSpPr>
              <a:spLocks noChangeArrowheads="1"/>
            </p:cNvSpPr>
            <p:nvPr/>
          </p:nvSpPr>
          <p:spPr bwMode="auto">
            <a:xfrm>
              <a:off x="6705022" y="11348885"/>
              <a:ext cx="50167" cy="41816"/>
            </a:xfrm>
            <a:custGeom>
              <a:avLst/>
              <a:gdLst>
                <a:gd name="T0" fmla="*/ 26 w 55"/>
                <a:gd name="T1" fmla="*/ 0 h 42"/>
                <a:gd name="T2" fmla="*/ 26 w 55"/>
                <a:gd name="T3" fmla="*/ 0 h 42"/>
                <a:gd name="T4" fmla="*/ 14 w 55"/>
                <a:gd name="T5" fmla="*/ 0 h 42"/>
                <a:gd name="T6" fmla="*/ 14 w 55"/>
                <a:gd name="T7" fmla="*/ 41 h 42"/>
                <a:gd name="T8" fmla="*/ 40 w 55"/>
                <a:gd name="T9" fmla="*/ 28 h 42"/>
                <a:gd name="T10" fmla="*/ 40 w 55"/>
                <a:gd name="T11" fmla="*/ 0 h 42"/>
                <a:gd name="T12" fmla="*/ 26 w 55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42">
                  <a:moveTo>
                    <a:pt x="26" y="0"/>
                  </a:moveTo>
                  <a:lnTo>
                    <a:pt x="26" y="0"/>
                  </a:lnTo>
                  <a:lnTo>
                    <a:pt x="14" y="0"/>
                  </a:lnTo>
                  <a:cubicBezTo>
                    <a:pt x="0" y="14"/>
                    <a:pt x="14" y="28"/>
                    <a:pt x="14" y="41"/>
                  </a:cubicBezTo>
                  <a:cubicBezTo>
                    <a:pt x="26" y="41"/>
                    <a:pt x="40" y="41"/>
                    <a:pt x="40" y="28"/>
                  </a:cubicBezTo>
                  <a:cubicBezTo>
                    <a:pt x="54" y="28"/>
                    <a:pt x="54" y="14"/>
                    <a:pt x="40" y="0"/>
                  </a:cubicBezTo>
                  <a:cubicBezTo>
                    <a:pt x="40" y="0"/>
                    <a:pt x="40" y="0"/>
                    <a:pt x="26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7" name="Freeform 225"/>
            <p:cNvSpPr>
              <a:spLocks noChangeArrowheads="1"/>
            </p:cNvSpPr>
            <p:nvPr/>
          </p:nvSpPr>
          <p:spPr bwMode="auto">
            <a:xfrm>
              <a:off x="6759368" y="10976718"/>
              <a:ext cx="351166" cy="246719"/>
            </a:xfrm>
            <a:custGeom>
              <a:avLst/>
              <a:gdLst>
                <a:gd name="T0" fmla="*/ 14 w 369"/>
                <a:gd name="T1" fmla="*/ 135 h 259"/>
                <a:gd name="T2" fmla="*/ 14 w 369"/>
                <a:gd name="T3" fmla="*/ 135 h 259"/>
                <a:gd name="T4" fmla="*/ 0 w 369"/>
                <a:gd name="T5" fmla="*/ 177 h 259"/>
                <a:gd name="T6" fmla="*/ 41 w 369"/>
                <a:gd name="T7" fmla="*/ 177 h 259"/>
                <a:gd name="T8" fmla="*/ 123 w 369"/>
                <a:gd name="T9" fmla="*/ 109 h 259"/>
                <a:gd name="T10" fmla="*/ 123 w 369"/>
                <a:gd name="T11" fmla="*/ 109 h 259"/>
                <a:gd name="T12" fmla="*/ 135 w 369"/>
                <a:gd name="T13" fmla="*/ 109 h 259"/>
                <a:gd name="T14" fmla="*/ 135 w 369"/>
                <a:gd name="T15" fmla="*/ 109 h 259"/>
                <a:gd name="T16" fmla="*/ 135 w 369"/>
                <a:gd name="T17" fmla="*/ 109 h 259"/>
                <a:gd name="T18" fmla="*/ 135 w 369"/>
                <a:gd name="T19" fmla="*/ 109 h 259"/>
                <a:gd name="T20" fmla="*/ 135 w 369"/>
                <a:gd name="T21" fmla="*/ 109 h 259"/>
                <a:gd name="T22" fmla="*/ 231 w 369"/>
                <a:gd name="T23" fmla="*/ 191 h 259"/>
                <a:gd name="T24" fmla="*/ 231 w 369"/>
                <a:gd name="T25" fmla="*/ 191 h 259"/>
                <a:gd name="T26" fmla="*/ 300 w 369"/>
                <a:gd name="T27" fmla="*/ 258 h 259"/>
                <a:gd name="T28" fmla="*/ 368 w 369"/>
                <a:gd name="T29" fmla="*/ 203 h 259"/>
                <a:gd name="T30" fmla="*/ 204 w 369"/>
                <a:gd name="T31" fmla="*/ 0 h 259"/>
                <a:gd name="T32" fmla="*/ 14 w 369"/>
                <a:gd name="T33" fmla="*/ 135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9" h="259">
                  <a:moveTo>
                    <a:pt x="14" y="135"/>
                  </a:moveTo>
                  <a:lnTo>
                    <a:pt x="14" y="135"/>
                  </a:lnTo>
                  <a:cubicBezTo>
                    <a:pt x="0" y="135"/>
                    <a:pt x="0" y="163"/>
                    <a:pt x="0" y="177"/>
                  </a:cubicBezTo>
                  <a:cubicBezTo>
                    <a:pt x="14" y="177"/>
                    <a:pt x="41" y="177"/>
                    <a:pt x="41" y="177"/>
                  </a:cubicBezTo>
                  <a:cubicBezTo>
                    <a:pt x="55" y="163"/>
                    <a:pt x="109" y="109"/>
                    <a:pt x="123" y="109"/>
                  </a:cubicBezTo>
                  <a:lnTo>
                    <a:pt x="123" y="109"/>
                  </a:lnTo>
                  <a:cubicBezTo>
                    <a:pt x="123" y="109"/>
                    <a:pt x="123" y="109"/>
                    <a:pt x="135" y="109"/>
                  </a:cubicBezTo>
                  <a:lnTo>
                    <a:pt x="135" y="109"/>
                  </a:lnTo>
                  <a:lnTo>
                    <a:pt x="135" y="109"/>
                  </a:lnTo>
                  <a:lnTo>
                    <a:pt x="135" y="109"/>
                  </a:lnTo>
                  <a:lnTo>
                    <a:pt x="135" y="109"/>
                  </a:lnTo>
                  <a:cubicBezTo>
                    <a:pt x="231" y="191"/>
                    <a:pt x="231" y="191"/>
                    <a:pt x="231" y="191"/>
                  </a:cubicBezTo>
                  <a:lnTo>
                    <a:pt x="231" y="191"/>
                  </a:lnTo>
                  <a:cubicBezTo>
                    <a:pt x="300" y="258"/>
                    <a:pt x="300" y="258"/>
                    <a:pt x="300" y="258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177" y="13"/>
                    <a:pt x="55" y="67"/>
                    <a:pt x="14" y="13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8" name="Freeform 226"/>
            <p:cNvSpPr>
              <a:spLocks noChangeArrowheads="1"/>
            </p:cNvSpPr>
            <p:nvPr/>
          </p:nvSpPr>
          <p:spPr bwMode="auto">
            <a:xfrm>
              <a:off x="6629773" y="11001807"/>
              <a:ext cx="438957" cy="426529"/>
            </a:xfrm>
            <a:custGeom>
              <a:avLst/>
              <a:gdLst>
                <a:gd name="T0" fmla="*/ 259 w 463"/>
                <a:gd name="T1" fmla="*/ 108 h 450"/>
                <a:gd name="T2" fmla="*/ 259 w 463"/>
                <a:gd name="T3" fmla="*/ 108 h 450"/>
                <a:gd name="T4" fmla="*/ 204 w 463"/>
                <a:gd name="T5" fmla="*/ 164 h 450"/>
                <a:gd name="T6" fmla="*/ 122 w 463"/>
                <a:gd name="T7" fmla="*/ 164 h 450"/>
                <a:gd name="T8" fmla="*/ 122 w 463"/>
                <a:gd name="T9" fmla="*/ 94 h 450"/>
                <a:gd name="T10" fmla="*/ 217 w 463"/>
                <a:gd name="T11" fmla="*/ 0 h 450"/>
                <a:gd name="T12" fmla="*/ 150 w 463"/>
                <a:gd name="T13" fmla="*/ 13 h 450"/>
                <a:gd name="T14" fmla="*/ 0 w 463"/>
                <a:gd name="T15" fmla="*/ 218 h 450"/>
                <a:gd name="T16" fmla="*/ 271 w 463"/>
                <a:gd name="T17" fmla="*/ 449 h 450"/>
                <a:gd name="T18" fmla="*/ 286 w 463"/>
                <a:gd name="T19" fmla="*/ 449 h 450"/>
                <a:gd name="T20" fmla="*/ 286 w 463"/>
                <a:gd name="T21" fmla="*/ 449 h 450"/>
                <a:gd name="T22" fmla="*/ 299 w 463"/>
                <a:gd name="T23" fmla="*/ 449 h 450"/>
                <a:gd name="T24" fmla="*/ 313 w 463"/>
                <a:gd name="T25" fmla="*/ 435 h 450"/>
                <a:gd name="T26" fmla="*/ 299 w 463"/>
                <a:gd name="T27" fmla="*/ 422 h 450"/>
                <a:gd name="T28" fmla="*/ 204 w 463"/>
                <a:gd name="T29" fmla="*/ 339 h 450"/>
                <a:gd name="T30" fmla="*/ 204 w 463"/>
                <a:gd name="T31" fmla="*/ 313 h 450"/>
                <a:gd name="T32" fmla="*/ 231 w 463"/>
                <a:gd name="T33" fmla="*/ 313 h 450"/>
                <a:gd name="T34" fmla="*/ 245 w 463"/>
                <a:gd name="T35" fmla="*/ 327 h 450"/>
                <a:gd name="T36" fmla="*/ 245 w 463"/>
                <a:gd name="T37" fmla="*/ 327 h 450"/>
                <a:gd name="T38" fmla="*/ 327 w 463"/>
                <a:gd name="T39" fmla="*/ 395 h 450"/>
                <a:gd name="T40" fmla="*/ 327 w 463"/>
                <a:gd name="T41" fmla="*/ 395 h 450"/>
                <a:gd name="T42" fmla="*/ 340 w 463"/>
                <a:gd name="T43" fmla="*/ 408 h 450"/>
                <a:gd name="T44" fmla="*/ 354 w 463"/>
                <a:gd name="T45" fmla="*/ 408 h 450"/>
                <a:gd name="T46" fmla="*/ 367 w 463"/>
                <a:gd name="T47" fmla="*/ 408 h 450"/>
                <a:gd name="T48" fmla="*/ 367 w 463"/>
                <a:gd name="T49" fmla="*/ 381 h 450"/>
                <a:gd name="T50" fmla="*/ 271 w 463"/>
                <a:gd name="T51" fmla="*/ 299 h 450"/>
                <a:gd name="T52" fmla="*/ 271 w 463"/>
                <a:gd name="T53" fmla="*/ 272 h 450"/>
                <a:gd name="T54" fmla="*/ 286 w 463"/>
                <a:gd name="T55" fmla="*/ 272 h 450"/>
                <a:gd name="T56" fmla="*/ 299 w 463"/>
                <a:gd name="T57" fmla="*/ 285 h 450"/>
                <a:gd name="T58" fmla="*/ 381 w 463"/>
                <a:gd name="T59" fmla="*/ 354 h 450"/>
                <a:gd name="T60" fmla="*/ 381 w 463"/>
                <a:gd name="T61" fmla="*/ 367 h 450"/>
                <a:gd name="T62" fmla="*/ 394 w 463"/>
                <a:gd name="T63" fmla="*/ 367 h 450"/>
                <a:gd name="T64" fmla="*/ 394 w 463"/>
                <a:gd name="T65" fmla="*/ 367 h 450"/>
                <a:gd name="T66" fmla="*/ 394 w 463"/>
                <a:gd name="T67" fmla="*/ 367 h 450"/>
                <a:gd name="T68" fmla="*/ 394 w 463"/>
                <a:gd name="T69" fmla="*/ 367 h 450"/>
                <a:gd name="T70" fmla="*/ 394 w 463"/>
                <a:gd name="T71" fmla="*/ 367 h 450"/>
                <a:gd name="T72" fmla="*/ 408 w 463"/>
                <a:gd name="T73" fmla="*/ 354 h 450"/>
                <a:gd name="T74" fmla="*/ 408 w 463"/>
                <a:gd name="T75" fmla="*/ 327 h 450"/>
                <a:gd name="T76" fmla="*/ 313 w 463"/>
                <a:gd name="T77" fmla="*/ 245 h 450"/>
                <a:gd name="T78" fmla="*/ 313 w 463"/>
                <a:gd name="T79" fmla="*/ 245 h 450"/>
                <a:gd name="T80" fmla="*/ 313 w 463"/>
                <a:gd name="T81" fmla="*/ 245 h 450"/>
                <a:gd name="T82" fmla="*/ 313 w 463"/>
                <a:gd name="T83" fmla="*/ 218 h 450"/>
                <a:gd name="T84" fmla="*/ 327 w 463"/>
                <a:gd name="T85" fmla="*/ 218 h 450"/>
                <a:gd name="T86" fmla="*/ 422 w 463"/>
                <a:gd name="T87" fmla="*/ 299 h 450"/>
                <a:gd name="T88" fmla="*/ 422 w 463"/>
                <a:gd name="T89" fmla="*/ 299 h 450"/>
                <a:gd name="T90" fmla="*/ 436 w 463"/>
                <a:gd name="T91" fmla="*/ 299 h 450"/>
                <a:gd name="T92" fmla="*/ 436 w 463"/>
                <a:gd name="T93" fmla="*/ 299 h 450"/>
                <a:gd name="T94" fmla="*/ 450 w 463"/>
                <a:gd name="T95" fmla="*/ 299 h 450"/>
                <a:gd name="T96" fmla="*/ 450 w 463"/>
                <a:gd name="T97" fmla="*/ 272 h 450"/>
                <a:gd name="T98" fmla="*/ 259 w 463"/>
                <a:gd name="T99" fmla="*/ 108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3" h="450">
                  <a:moveTo>
                    <a:pt x="259" y="108"/>
                  </a:moveTo>
                  <a:lnTo>
                    <a:pt x="259" y="108"/>
                  </a:lnTo>
                  <a:cubicBezTo>
                    <a:pt x="245" y="122"/>
                    <a:pt x="217" y="136"/>
                    <a:pt x="204" y="164"/>
                  </a:cubicBezTo>
                  <a:cubicBezTo>
                    <a:pt x="177" y="190"/>
                    <a:pt x="150" y="190"/>
                    <a:pt x="122" y="164"/>
                  </a:cubicBezTo>
                  <a:cubicBezTo>
                    <a:pt x="96" y="150"/>
                    <a:pt x="108" y="108"/>
                    <a:pt x="122" y="94"/>
                  </a:cubicBezTo>
                  <a:cubicBezTo>
                    <a:pt x="136" y="54"/>
                    <a:pt x="177" y="27"/>
                    <a:pt x="217" y="0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271" y="449"/>
                    <a:pt x="271" y="449"/>
                    <a:pt x="271" y="449"/>
                  </a:cubicBezTo>
                  <a:cubicBezTo>
                    <a:pt x="286" y="449"/>
                    <a:pt x="286" y="449"/>
                    <a:pt x="286" y="449"/>
                  </a:cubicBezTo>
                  <a:lnTo>
                    <a:pt x="286" y="449"/>
                  </a:lnTo>
                  <a:cubicBezTo>
                    <a:pt x="299" y="449"/>
                    <a:pt x="299" y="449"/>
                    <a:pt x="299" y="449"/>
                  </a:cubicBezTo>
                  <a:cubicBezTo>
                    <a:pt x="313" y="435"/>
                    <a:pt x="313" y="435"/>
                    <a:pt x="313" y="435"/>
                  </a:cubicBezTo>
                  <a:cubicBezTo>
                    <a:pt x="313" y="422"/>
                    <a:pt x="313" y="422"/>
                    <a:pt x="299" y="422"/>
                  </a:cubicBezTo>
                  <a:cubicBezTo>
                    <a:pt x="204" y="339"/>
                    <a:pt x="204" y="339"/>
                    <a:pt x="204" y="339"/>
                  </a:cubicBezTo>
                  <a:cubicBezTo>
                    <a:pt x="204" y="339"/>
                    <a:pt x="204" y="327"/>
                    <a:pt x="204" y="313"/>
                  </a:cubicBezTo>
                  <a:cubicBezTo>
                    <a:pt x="217" y="313"/>
                    <a:pt x="217" y="313"/>
                    <a:pt x="231" y="313"/>
                  </a:cubicBezTo>
                  <a:cubicBezTo>
                    <a:pt x="245" y="327"/>
                    <a:pt x="245" y="327"/>
                    <a:pt x="245" y="327"/>
                  </a:cubicBezTo>
                  <a:lnTo>
                    <a:pt x="245" y="327"/>
                  </a:lnTo>
                  <a:cubicBezTo>
                    <a:pt x="327" y="395"/>
                    <a:pt x="327" y="395"/>
                    <a:pt x="327" y="395"/>
                  </a:cubicBezTo>
                  <a:lnTo>
                    <a:pt x="327" y="395"/>
                  </a:lnTo>
                  <a:cubicBezTo>
                    <a:pt x="340" y="408"/>
                    <a:pt x="340" y="408"/>
                    <a:pt x="340" y="408"/>
                  </a:cubicBezTo>
                  <a:cubicBezTo>
                    <a:pt x="340" y="408"/>
                    <a:pt x="340" y="408"/>
                    <a:pt x="354" y="408"/>
                  </a:cubicBezTo>
                  <a:cubicBezTo>
                    <a:pt x="354" y="408"/>
                    <a:pt x="354" y="408"/>
                    <a:pt x="367" y="408"/>
                  </a:cubicBezTo>
                  <a:cubicBezTo>
                    <a:pt x="367" y="395"/>
                    <a:pt x="367" y="381"/>
                    <a:pt x="367" y="381"/>
                  </a:cubicBezTo>
                  <a:cubicBezTo>
                    <a:pt x="271" y="299"/>
                    <a:pt x="271" y="299"/>
                    <a:pt x="271" y="299"/>
                  </a:cubicBezTo>
                  <a:cubicBezTo>
                    <a:pt x="259" y="285"/>
                    <a:pt x="259" y="285"/>
                    <a:pt x="271" y="272"/>
                  </a:cubicBezTo>
                  <a:lnTo>
                    <a:pt x="286" y="272"/>
                  </a:lnTo>
                  <a:cubicBezTo>
                    <a:pt x="299" y="285"/>
                    <a:pt x="299" y="285"/>
                    <a:pt x="299" y="285"/>
                  </a:cubicBezTo>
                  <a:cubicBezTo>
                    <a:pt x="381" y="354"/>
                    <a:pt x="381" y="354"/>
                    <a:pt x="381" y="354"/>
                  </a:cubicBezTo>
                  <a:cubicBezTo>
                    <a:pt x="381" y="367"/>
                    <a:pt x="381" y="367"/>
                    <a:pt x="381" y="367"/>
                  </a:cubicBezTo>
                  <a:cubicBezTo>
                    <a:pt x="394" y="367"/>
                    <a:pt x="394" y="367"/>
                    <a:pt x="394" y="367"/>
                  </a:cubicBezTo>
                  <a:lnTo>
                    <a:pt x="394" y="367"/>
                  </a:lnTo>
                  <a:lnTo>
                    <a:pt x="394" y="367"/>
                  </a:lnTo>
                  <a:lnTo>
                    <a:pt x="394" y="367"/>
                  </a:lnTo>
                  <a:lnTo>
                    <a:pt x="394" y="367"/>
                  </a:lnTo>
                  <a:cubicBezTo>
                    <a:pt x="408" y="367"/>
                    <a:pt x="408" y="354"/>
                    <a:pt x="408" y="354"/>
                  </a:cubicBezTo>
                  <a:cubicBezTo>
                    <a:pt x="422" y="339"/>
                    <a:pt x="422" y="339"/>
                    <a:pt x="408" y="327"/>
                  </a:cubicBezTo>
                  <a:cubicBezTo>
                    <a:pt x="313" y="245"/>
                    <a:pt x="313" y="245"/>
                    <a:pt x="313" y="245"/>
                  </a:cubicBezTo>
                  <a:lnTo>
                    <a:pt x="313" y="245"/>
                  </a:lnTo>
                  <a:lnTo>
                    <a:pt x="313" y="245"/>
                  </a:lnTo>
                  <a:cubicBezTo>
                    <a:pt x="299" y="231"/>
                    <a:pt x="299" y="231"/>
                    <a:pt x="313" y="218"/>
                  </a:cubicBezTo>
                  <a:lnTo>
                    <a:pt x="327" y="218"/>
                  </a:lnTo>
                  <a:cubicBezTo>
                    <a:pt x="422" y="299"/>
                    <a:pt x="422" y="299"/>
                    <a:pt x="422" y="299"/>
                  </a:cubicBezTo>
                  <a:lnTo>
                    <a:pt x="422" y="299"/>
                  </a:lnTo>
                  <a:lnTo>
                    <a:pt x="436" y="299"/>
                  </a:lnTo>
                  <a:lnTo>
                    <a:pt x="436" y="299"/>
                  </a:lnTo>
                  <a:lnTo>
                    <a:pt x="450" y="299"/>
                  </a:lnTo>
                  <a:cubicBezTo>
                    <a:pt x="462" y="285"/>
                    <a:pt x="450" y="272"/>
                    <a:pt x="450" y="272"/>
                  </a:cubicBezTo>
                  <a:lnTo>
                    <a:pt x="259" y="10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39" name="Freeform 227"/>
            <p:cNvSpPr>
              <a:spLocks noChangeArrowheads="1"/>
            </p:cNvSpPr>
            <p:nvPr/>
          </p:nvSpPr>
          <p:spPr bwMode="auto">
            <a:xfrm>
              <a:off x="6759368" y="11390700"/>
              <a:ext cx="54349" cy="50180"/>
            </a:xfrm>
            <a:custGeom>
              <a:avLst/>
              <a:gdLst>
                <a:gd name="T0" fmla="*/ 27 w 56"/>
                <a:gd name="T1" fmla="*/ 0 h 55"/>
                <a:gd name="T2" fmla="*/ 27 w 56"/>
                <a:gd name="T3" fmla="*/ 0 h 55"/>
                <a:gd name="T4" fmla="*/ 14 w 56"/>
                <a:gd name="T5" fmla="*/ 14 h 55"/>
                <a:gd name="T6" fmla="*/ 14 w 56"/>
                <a:gd name="T7" fmla="*/ 41 h 55"/>
                <a:gd name="T8" fmla="*/ 41 w 56"/>
                <a:gd name="T9" fmla="*/ 41 h 55"/>
                <a:gd name="T10" fmla="*/ 41 w 56"/>
                <a:gd name="T11" fmla="*/ 0 h 55"/>
                <a:gd name="T12" fmla="*/ 27 w 56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5">
                  <a:moveTo>
                    <a:pt x="27" y="0"/>
                  </a:moveTo>
                  <a:lnTo>
                    <a:pt x="27" y="0"/>
                  </a:lnTo>
                  <a:cubicBezTo>
                    <a:pt x="27" y="0"/>
                    <a:pt x="14" y="0"/>
                    <a:pt x="14" y="14"/>
                  </a:cubicBezTo>
                  <a:cubicBezTo>
                    <a:pt x="0" y="14"/>
                    <a:pt x="14" y="27"/>
                    <a:pt x="14" y="41"/>
                  </a:cubicBezTo>
                  <a:cubicBezTo>
                    <a:pt x="27" y="54"/>
                    <a:pt x="41" y="41"/>
                    <a:pt x="41" y="41"/>
                  </a:cubicBezTo>
                  <a:cubicBezTo>
                    <a:pt x="55" y="27"/>
                    <a:pt x="55" y="14"/>
                    <a:pt x="41" y="0"/>
                  </a:cubicBezTo>
                  <a:cubicBezTo>
                    <a:pt x="41" y="0"/>
                    <a:pt x="41" y="0"/>
                    <a:pt x="27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40" name="Freeform 228"/>
            <p:cNvSpPr>
              <a:spLocks noChangeArrowheads="1"/>
            </p:cNvSpPr>
            <p:nvPr/>
          </p:nvSpPr>
          <p:spPr bwMode="auto">
            <a:xfrm>
              <a:off x="6901508" y="11453424"/>
              <a:ext cx="4181" cy="4184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bevel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</p:grpSp>
      <p:grpSp>
        <p:nvGrpSpPr>
          <p:cNvPr id="41" name="Group 77"/>
          <p:cNvGrpSpPr/>
          <p:nvPr userDrawn="1"/>
        </p:nvGrpSpPr>
        <p:grpSpPr>
          <a:xfrm>
            <a:off x="17446815" y="10731396"/>
            <a:ext cx="845450" cy="756949"/>
            <a:chOff x="13222514" y="10847085"/>
            <a:chExt cx="635447" cy="568706"/>
          </a:xfrm>
          <a:solidFill>
            <a:srgbClr val="FFFFFF"/>
          </a:solidFill>
        </p:grpSpPr>
        <p:sp>
          <p:nvSpPr>
            <p:cNvPr id="42" name="Freeform 245"/>
            <p:cNvSpPr>
              <a:spLocks noChangeArrowheads="1"/>
            </p:cNvSpPr>
            <p:nvPr/>
          </p:nvSpPr>
          <p:spPr bwMode="auto">
            <a:xfrm>
              <a:off x="13276865" y="11323795"/>
              <a:ext cx="41805" cy="41816"/>
            </a:xfrm>
            <a:custGeom>
              <a:avLst/>
              <a:gdLst>
                <a:gd name="T0" fmla="*/ 14 w 42"/>
                <a:gd name="T1" fmla="*/ 42 h 43"/>
                <a:gd name="T2" fmla="*/ 14 w 42"/>
                <a:gd name="T3" fmla="*/ 42 h 43"/>
                <a:gd name="T4" fmla="*/ 41 w 42"/>
                <a:gd name="T5" fmla="*/ 28 h 43"/>
                <a:gd name="T6" fmla="*/ 14 w 42"/>
                <a:gd name="T7" fmla="*/ 0 h 43"/>
                <a:gd name="T8" fmla="*/ 0 w 42"/>
                <a:gd name="T9" fmla="*/ 28 h 43"/>
                <a:gd name="T10" fmla="*/ 14 w 42"/>
                <a:gd name="T11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3">
                  <a:moveTo>
                    <a:pt x="14" y="42"/>
                  </a:moveTo>
                  <a:lnTo>
                    <a:pt x="14" y="42"/>
                  </a:lnTo>
                  <a:cubicBezTo>
                    <a:pt x="28" y="42"/>
                    <a:pt x="41" y="42"/>
                    <a:pt x="41" y="28"/>
                  </a:cubicBezTo>
                  <a:cubicBezTo>
                    <a:pt x="41" y="15"/>
                    <a:pt x="28" y="0"/>
                    <a:pt x="14" y="0"/>
                  </a:cubicBezTo>
                  <a:cubicBezTo>
                    <a:pt x="14" y="0"/>
                    <a:pt x="0" y="15"/>
                    <a:pt x="0" y="28"/>
                  </a:cubicBezTo>
                  <a:cubicBezTo>
                    <a:pt x="0" y="42"/>
                    <a:pt x="14" y="42"/>
                    <a:pt x="14" y="42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43" name="Freeform 246"/>
            <p:cNvSpPr>
              <a:spLocks noChangeArrowheads="1"/>
            </p:cNvSpPr>
            <p:nvPr/>
          </p:nvSpPr>
          <p:spPr bwMode="auto">
            <a:xfrm>
              <a:off x="13222514" y="11068713"/>
              <a:ext cx="167223" cy="347078"/>
            </a:xfrm>
            <a:custGeom>
              <a:avLst/>
              <a:gdLst>
                <a:gd name="T0" fmla="*/ 0 w 177"/>
                <a:gd name="T1" fmla="*/ 367 h 368"/>
                <a:gd name="T2" fmla="*/ 0 w 177"/>
                <a:gd name="T3" fmla="*/ 367 h 368"/>
                <a:gd name="T4" fmla="*/ 176 w 177"/>
                <a:gd name="T5" fmla="*/ 367 h 368"/>
                <a:gd name="T6" fmla="*/ 176 w 177"/>
                <a:gd name="T7" fmla="*/ 0 h 368"/>
                <a:gd name="T8" fmla="*/ 0 w 177"/>
                <a:gd name="T9" fmla="*/ 0 h 368"/>
                <a:gd name="T10" fmla="*/ 0 w 177"/>
                <a:gd name="T11" fmla="*/ 367 h 368"/>
                <a:gd name="T12" fmla="*/ 95 w 177"/>
                <a:gd name="T13" fmla="*/ 26 h 368"/>
                <a:gd name="T14" fmla="*/ 95 w 177"/>
                <a:gd name="T15" fmla="*/ 26 h 368"/>
                <a:gd name="T16" fmla="*/ 122 w 177"/>
                <a:gd name="T17" fmla="*/ 26 h 368"/>
                <a:gd name="T18" fmla="*/ 122 w 177"/>
                <a:gd name="T19" fmla="*/ 231 h 368"/>
                <a:gd name="T20" fmla="*/ 95 w 177"/>
                <a:gd name="T21" fmla="*/ 231 h 368"/>
                <a:gd name="T22" fmla="*/ 95 w 177"/>
                <a:gd name="T23" fmla="*/ 26 h 368"/>
                <a:gd name="T24" fmla="*/ 68 w 177"/>
                <a:gd name="T25" fmla="*/ 245 h 368"/>
                <a:gd name="T26" fmla="*/ 68 w 177"/>
                <a:gd name="T27" fmla="*/ 245 h 368"/>
                <a:gd name="T28" fmla="*/ 122 w 177"/>
                <a:gd name="T29" fmla="*/ 299 h 368"/>
                <a:gd name="T30" fmla="*/ 68 w 177"/>
                <a:gd name="T31" fmla="*/ 340 h 368"/>
                <a:gd name="T32" fmla="*/ 27 w 177"/>
                <a:gd name="T33" fmla="*/ 299 h 368"/>
                <a:gd name="T34" fmla="*/ 68 w 177"/>
                <a:gd name="T35" fmla="*/ 24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368">
                  <a:moveTo>
                    <a:pt x="0" y="367"/>
                  </a:moveTo>
                  <a:lnTo>
                    <a:pt x="0" y="367"/>
                  </a:lnTo>
                  <a:cubicBezTo>
                    <a:pt x="176" y="367"/>
                    <a:pt x="176" y="367"/>
                    <a:pt x="176" y="367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67"/>
                  </a:lnTo>
                  <a:close/>
                  <a:moveTo>
                    <a:pt x="95" y="26"/>
                  </a:moveTo>
                  <a:lnTo>
                    <a:pt x="95" y="26"/>
                  </a:lnTo>
                  <a:cubicBezTo>
                    <a:pt x="122" y="26"/>
                    <a:pt x="122" y="26"/>
                    <a:pt x="122" y="26"/>
                  </a:cubicBezTo>
                  <a:cubicBezTo>
                    <a:pt x="122" y="231"/>
                    <a:pt x="122" y="231"/>
                    <a:pt x="122" y="231"/>
                  </a:cubicBezTo>
                  <a:cubicBezTo>
                    <a:pt x="95" y="231"/>
                    <a:pt x="95" y="231"/>
                    <a:pt x="95" y="231"/>
                  </a:cubicBezTo>
                  <a:lnTo>
                    <a:pt x="95" y="26"/>
                  </a:lnTo>
                  <a:close/>
                  <a:moveTo>
                    <a:pt x="68" y="245"/>
                  </a:moveTo>
                  <a:lnTo>
                    <a:pt x="68" y="245"/>
                  </a:lnTo>
                  <a:cubicBezTo>
                    <a:pt x="95" y="245"/>
                    <a:pt x="122" y="271"/>
                    <a:pt x="122" y="299"/>
                  </a:cubicBezTo>
                  <a:cubicBezTo>
                    <a:pt x="122" y="327"/>
                    <a:pt x="95" y="340"/>
                    <a:pt x="68" y="340"/>
                  </a:cubicBezTo>
                  <a:cubicBezTo>
                    <a:pt x="41" y="340"/>
                    <a:pt x="27" y="327"/>
                    <a:pt x="27" y="299"/>
                  </a:cubicBezTo>
                  <a:cubicBezTo>
                    <a:pt x="27" y="271"/>
                    <a:pt x="41" y="245"/>
                    <a:pt x="68" y="245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44" name="Freeform 247"/>
            <p:cNvSpPr>
              <a:spLocks noChangeArrowheads="1"/>
            </p:cNvSpPr>
            <p:nvPr/>
          </p:nvSpPr>
          <p:spPr bwMode="auto">
            <a:xfrm>
              <a:off x="13419004" y="10847085"/>
              <a:ext cx="438957" cy="518524"/>
            </a:xfrm>
            <a:custGeom>
              <a:avLst/>
              <a:gdLst>
                <a:gd name="T0" fmla="*/ 436 w 464"/>
                <a:gd name="T1" fmla="*/ 300 h 546"/>
                <a:gd name="T2" fmla="*/ 436 w 464"/>
                <a:gd name="T3" fmla="*/ 300 h 546"/>
                <a:gd name="T4" fmla="*/ 463 w 464"/>
                <a:gd name="T5" fmla="*/ 258 h 546"/>
                <a:gd name="T6" fmla="*/ 408 w 464"/>
                <a:gd name="T7" fmla="*/ 218 h 546"/>
                <a:gd name="T8" fmla="*/ 314 w 464"/>
                <a:gd name="T9" fmla="*/ 218 h 546"/>
                <a:gd name="T10" fmla="*/ 394 w 464"/>
                <a:gd name="T11" fmla="*/ 95 h 546"/>
                <a:gd name="T12" fmla="*/ 382 w 464"/>
                <a:gd name="T13" fmla="*/ 27 h 546"/>
                <a:gd name="T14" fmla="*/ 326 w 464"/>
                <a:gd name="T15" fmla="*/ 0 h 546"/>
                <a:gd name="T16" fmla="*/ 326 w 464"/>
                <a:gd name="T17" fmla="*/ 0 h 546"/>
                <a:gd name="T18" fmla="*/ 326 w 464"/>
                <a:gd name="T19" fmla="*/ 0 h 546"/>
                <a:gd name="T20" fmla="*/ 218 w 464"/>
                <a:gd name="T21" fmla="*/ 123 h 546"/>
                <a:gd name="T22" fmla="*/ 41 w 464"/>
                <a:gd name="T23" fmla="*/ 272 h 546"/>
                <a:gd name="T24" fmla="*/ 0 w 464"/>
                <a:gd name="T25" fmla="*/ 272 h 546"/>
                <a:gd name="T26" fmla="*/ 0 w 464"/>
                <a:gd name="T27" fmla="*/ 518 h 546"/>
                <a:gd name="T28" fmla="*/ 0 w 464"/>
                <a:gd name="T29" fmla="*/ 518 h 546"/>
                <a:gd name="T30" fmla="*/ 14 w 464"/>
                <a:gd name="T31" fmla="*/ 518 h 546"/>
                <a:gd name="T32" fmla="*/ 81 w 464"/>
                <a:gd name="T33" fmla="*/ 531 h 546"/>
                <a:gd name="T34" fmla="*/ 135 w 464"/>
                <a:gd name="T35" fmla="*/ 545 h 546"/>
                <a:gd name="T36" fmla="*/ 231 w 464"/>
                <a:gd name="T37" fmla="*/ 531 h 546"/>
                <a:gd name="T38" fmla="*/ 368 w 464"/>
                <a:gd name="T39" fmla="*/ 531 h 546"/>
                <a:gd name="T40" fmla="*/ 408 w 464"/>
                <a:gd name="T41" fmla="*/ 491 h 546"/>
                <a:gd name="T42" fmla="*/ 394 w 464"/>
                <a:gd name="T43" fmla="*/ 449 h 546"/>
                <a:gd name="T44" fmla="*/ 394 w 464"/>
                <a:gd name="T45" fmla="*/ 449 h 546"/>
                <a:gd name="T46" fmla="*/ 449 w 464"/>
                <a:gd name="T47" fmla="*/ 409 h 546"/>
                <a:gd name="T48" fmla="*/ 422 w 464"/>
                <a:gd name="T49" fmla="*/ 382 h 546"/>
                <a:gd name="T50" fmla="*/ 463 w 464"/>
                <a:gd name="T51" fmla="*/ 328 h 546"/>
                <a:gd name="T52" fmla="*/ 436 w 464"/>
                <a:gd name="T53" fmla="*/ 300 h 546"/>
                <a:gd name="T54" fmla="*/ 204 w 464"/>
                <a:gd name="T55" fmla="*/ 204 h 546"/>
                <a:gd name="T56" fmla="*/ 204 w 464"/>
                <a:gd name="T57" fmla="*/ 204 h 546"/>
                <a:gd name="T58" fmla="*/ 123 w 464"/>
                <a:gd name="T59" fmla="*/ 300 h 546"/>
                <a:gd name="T60" fmla="*/ 109 w 464"/>
                <a:gd name="T61" fmla="*/ 314 h 546"/>
                <a:gd name="T62" fmla="*/ 109 w 464"/>
                <a:gd name="T63" fmla="*/ 314 h 546"/>
                <a:gd name="T64" fmla="*/ 95 w 464"/>
                <a:gd name="T65" fmla="*/ 286 h 546"/>
                <a:gd name="T66" fmla="*/ 191 w 464"/>
                <a:gd name="T67" fmla="*/ 191 h 546"/>
                <a:gd name="T68" fmla="*/ 218 w 464"/>
                <a:gd name="T69" fmla="*/ 191 h 546"/>
                <a:gd name="T70" fmla="*/ 204 w 464"/>
                <a:gd name="T71" fmla="*/ 204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4" h="546">
                  <a:moveTo>
                    <a:pt x="436" y="300"/>
                  </a:moveTo>
                  <a:lnTo>
                    <a:pt x="436" y="300"/>
                  </a:lnTo>
                  <a:cubicBezTo>
                    <a:pt x="449" y="286"/>
                    <a:pt x="463" y="272"/>
                    <a:pt x="463" y="258"/>
                  </a:cubicBezTo>
                  <a:cubicBezTo>
                    <a:pt x="463" y="232"/>
                    <a:pt x="436" y="218"/>
                    <a:pt x="408" y="218"/>
                  </a:cubicBezTo>
                  <a:cubicBezTo>
                    <a:pt x="314" y="218"/>
                    <a:pt x="314" y="218"/>
                    <a:pt x="314" y="218"/>
                  </a:cubicBezTo>
                  <a:cubicBezTo>
                    <a:pt x="340" y="191"/>
                    <a:pt x="382" y="150"/>
                    <a:pt x="394" y="95"/>
                  </a:cubicBezTo>
                  <a:cubicBezTo>
                    <a:pt x="394" y="69"/>
                    <a:pt x="394" y="41"/>
                    <a:pt x="382" y="27"/>
                  </a:cubicBezTo>
                  <a:cubicBezTo>
                    <a:pt x="368" y="0"/>
                    <a:pt x="326" y="0"/>
                    <a:pt x="326" y="0"/>
                  </a:cubicBezTo>
                  <a:lnTo>
                    <a:pt x="326" y="0"/>
                  </a:lnTo>
                  <a:lnTo>
                    <a:pt x="326" y="0"/>
                  </a:lnTo>
                  <a:cubicBezTo>
                    <a:pt x="326" y="27"/>
                    <a:pt x="314" y="69"/>
                    <a:pt x="218" y="123"/>
                  </a:cubicBezTo>
                  <a:cubicBezTo>
                    <a:pt x="123" y="191"/>
                    <a:pt x="55" y="258"/>
                    <a:pt x="41" y="27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518"/>
                    <a:pt x="0" y="518"/>
                    <a:pt x="0" y="518"/>
                  </a:cubicBezTo>
                  <a:lnTo>
                    <a:pt x="0" y="518"/>
                  </a:lnTo>
                  <a:cubicBezTo>
                    <a:pt x="0" y="518"/>
                    <a:pt x="0" y="518"/>
                    <a:pt x="14" y="518"/>
                  </a:cubicBezTo>
                  <a:cubicBezTo>
                    <a:pt x="27" y="518"/>
                    <a:pt x="55" y="518"/>
                    <a:pt x="81" y="531"/>
                  </a:cubicBezTo>
                  <a:cubicBezTo>
                    <a:pt x="95" y="531"/>
                    <a:pt x="109" y="545"/>
                    <a:pt x="135" y="545"/>
                  </a:cubicBezTo>
                  <a:cubicBezTo>
                    <a:pt x="177" y="545"/>
                    <a:pt x="231" y="531"/>
                    <a:pt x="231" y="531"/>
                  </a:cubicBezTo>
                  <a:cubicBezTo>
                    <a:pt x="368" y="531"/>
                    <a:pt x="368" y="531"/>
                    <a:pt x="368" y="531"/>
                  </a:cubicBezTo>
                  <a:cubicBezTo>
                    <a:pt x="394" y="531"/>
                    <a:pt x="408" y="518"/>
                    <a:pt x="408" y="491"/>
                  </a:cubicBezTo>
                  <a:cubicBezTo>
                    <a:pt x="408" y="477"/>
                    <a:pt x="408" y="463"/>
                    <a:pt x="394" y="449"/>
                  </a:cubicBezTo>
                  <a:lnTo>
                    <a:pt x="394" y="449"/>
                  </a:lnTo>
                  <a:cubicBezTo>
                    <a:pt x="422" y="449"/>
                    <a:pt x="449" y="436"/>
                    <a:pt x="449" y="409"/>
                  </a:cubicBezTo>
                  <a:cubicBezTo>
                    <a:pt x="449" y="395"/>
                    <a:pt x="436" y="382"/>
                    <a:pt x="422" y="382"/>
                  </a:cubicBezTo>
                  <a:cubicBezTo>
                    <a:pt x="449" y="368"/>
                    <a:pt x="463" y="354"/>
                    <a:pt x="463" y="328"/>
                  </a:cubicBezTo>
                  <a:cubicBezTo>
                    <a:pt x="463" y="314"/>
                    <a:pt x="449" y="300"/>
                    <a:pt x="436" y="300"/>
                  </a:cubicBezTo>
                  <a:close/>
                  <a:moveTo>
                    <a:pt x="204" y="204"/>
                  </a:moveTo>
                  <a:lnTo>
                    <a:pt x="204" y="204"/>
                  </a:lnTo>
                  <a:cubicBezTo>
                    <a:pt x="163" y="246"/>
                    <a:pt x="123" y="300"/>
                    <a:pt x="123" y="300"/>
                  </a:cubicBezTo>
                  <a:cubicBezTo>
                    <a:pt x="123" y="314"/>
                    <a:pt x="123" y="314"/>
                    <a:pt x="109" y="314"/>
                  </a:cubicBezTo>
                  <a:lnTo>
                    <a:pt x="109" y="314"/>
                  </a:lnTo>
                  <a:cubicBezTo>
                    <a:pt x="95" y="300"/>
                    <a:pt x="95" y="300"/>
                    <a:pt x="95" y="286"/>
                  </a:cubicBezTo>
                  <a:cubicBezTo>
                    <a:pt x="95" y="286"/>
                    <a:pt x="135" y="218"/>
                    <a:pt x="191" y="191"/>
                  </a:cubicBezTo>
                  <a:cubicBezTo>
                    <a:pt x="204" y="177"/>
                    <a:pt x="218" y="191"/>
                    <a:pt x="218" y="191"/>
                  </a:cubicBezTo>
                  <a:cubicBezTo>
                    <a:pt x="218" y="204"/>
                    <a:pt x="218" y="204"/>
                    <a:pt x="204" y="204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</p:grpSp>
      <p:grpSp>
        <p:nvGrpSpPr>
          <p:cNvPr id="45" name="Group 81"/>
          <p:cNvGrpSpPr/>
          <p:nvPr userDrawn="1"/>
        </p:nvGrpSpPr>
        <p:grpSpPr>
          <a:xfrm>
            <a:off x="22320389" y="10695221"/>
            <a:ext cx="823196" cy="829298"/>
            <a:chOff x="15935700" y="10788544"/>
            <a:chExt cx="618722" cy="623064"/>
          </a:xfrm>
          <a:solidFill>
            <a:srgbClr val="FFFFFF"/>
          </a:solidFill>
        </p:grpSpPr>
        <p:sp>
          <p:nvSpPr>
            <p:cNvPr id="46" name="Freeform 584"/>
            <p:cNvSpPr>
              <a:spLocks noChangeArrowheads="1"/>
            </p:cNvSpPr>
            <p:nvPr/>
          </p:nvSpPr>
          <p:spPr bwMode="auto">
            <a:xfrm>
              <a:off x="15935700" y="10788544"/>
              <a:ext cx="618722" cy="623064"/>
            </a:xfrm>
            <a:custGeom>
              <a:avLst/>
              <a:gdLst>
                <a:gd name="T0" fmla="*/ 641 w 654"/>
                <a:gd name="T1" fmla="*/ 258 h 655"/>
                <a:gd name="T2" fmla="*/ 341 w 654"/>
                <a:gd name="T3" fmla="*/ 13 h 655"/>
                <a:gd name="T4" fmla="*/ 68 w 654"/>
                <a:gd name="T5" fmla="*/ 258 h 655"/>
                <a:gd name="T6" fmla="*/ 0 w 654"/>
                <a:gd name="T7" fmla="*/ 258 h 655"/>
                <a:gd name="T8" fmla="*/ 0 w 654"/>
                <a:gd name="T9" fmla="*/ 654 h 655"/>
                <a:gd name="T10" fmla="*/ 653 w 654"/>
                <a:gd name="T11" fmla="*/ 654 h 655"/>
                <a:gd name="T12" fmla="*/ 641 w 654"/>
                <a:gd name="T13" fmla="*/ 258 h 655"/>
                <a:gd name="T14" fmla="*/ 327 w 654"/>
                <a:gd name="T15" fmla="*/ 55 h 655"/>
                <a:gd name="T16" fmla="*/ 122 w 654"/>
                <a:gd name="T17" fmla="*/ 258 h 655"/>
                <a:gd name="T18" fmla="*/ 96 w 654"/>
                <a:gd name="T19" fmla="*/ 558 h 655"/>
                <a:gd name="T20" fmla="*/ 54 w 654"/>
                <a:gd name="T21" fmla="*/ 545 h 655"/>
                <a:gd name="T22" fmla="*/ 110 w 654"/>
                <a:gd name="T23" fmla="*/ 545 h 655"/>
                <a:gd name="T24" fmla="*/ 110 w 654"/>
                <a:gd name="T25" fmla="*/ 477 h 655"/>
                <a:gd name="T26" fmla="*/ 122 w 654"/>
                <a:gd name="T27" fmla="*/ 381 h 655"/>
                <a:gd name="T28" fmla="*/ 150 w 654"/>
                <a:gd name="T29" fmla="*/ 409 h 655"/>
                <a:gd name="T30" fmla="*/ 82 w 654"/>
                <a:gd name="T31" fmla="*/ 422 h 655"/>
                <a:gd name="T32" fmla="*/ 164 w 654"/>
                <a:gd name="T33" fmla="*/ 504 h 655"/>
                <a:gd name="T34" fmla="*/ 313 w 654"/>
                <a:gd name="T35" fmla="*/ 558 h 655"/>
                <a:gd name="T36" fmla="*/ 287 w 654"/>
                <a:gd name="T37" fmla="*/ 504 h 655"/>
                <a:gd name="T38" fmla="*/ 205 w 654"/>
                <a:gd name="T39" fmla="*/ 558 h 655"/>
                <a:gd name="T40" fmla="*/ 245 w 654"/>
                <a:gd name="T41" fmla="*/ 381 h 655"/>
                <a:gd name="T42" fmla="*/ 341 w 654"/>
                <a:gd name="T43" fmla="*/ 558 h 655"/>
                <a:gd name="T44" fmla="*/ 462 w 654"/>
                <a:gd name="T45" fmla="*/ 558 h 655"/>
                <a:gd name="T46" fmla="*/ 368 w 654"/>
                <a:gd name="T47" fmla="*/ 558 h 655"/>
                <a:gd name="T48" fmla="*/ 382 w 654"/>
                <a:gd name="T49" fmla="*/ 381 h 655"/>
                <a:gd name="T50" fmla="*/ 462 w 654"/>
                <a:gd name="T51" fmla="*/ 545 h 655"/>
                <a:gd name="T52" fmla="*/ 585 w 654"/>
                <a:gd name="T53" fmla="*/ 558 h 655"/>
                <a:gd name="T54" fmla="*/ 490 w 654"/>
                <a:gd name="T55" fmla="*/ 558 h 655"/>
                <a:gd name="T56" fmla="*/ 585 w 654"/>
                <a:gd name="T57" fmla="*/ 381 h 655"/>
                <a:gd name="T58" fmla="*/ 518 w 654"/>
                <a:gd name="T59" fmla="*/ 395 h 655"/>
                <a:gd name="T60" fmla="*/ 585 w 654"/>
                <a:gd name="T61" fmla="*/ 449 h 655"/>
                <a:gd name="T62" fmla="*/ 518 w 654"/>
                <a:gd name="T63" fmla="*/ 477 h 655"/>
                <a:gd name="T64" fmla="*/ 585 w 654"/>
                <a:gd name="T65" fmla="*/ 54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54" h="655">
                  <a:moveTo>
                    <a:pt x="641" y="258"/>
                  </a:moveTo>
                  <a:lnTo>
                    <a:pt x="641" y="258"/>
                  </a:lnTo>
                  <a:cubicBezTo>
                    <a:pt x="585" y="258"/>
                    <a:pt x="585" y="258"/>
                    <a:pt x="585" y="258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27" y="0"/>
                    <a:pt x="313" y="0"/>
                    <a:pt x="313" y="13"/>
                  </a:cubicBezTo>
                  <a:cubicBezTo>
                    <a:pt x="68" y="258"/>
                    <a:pt x="68" y="258"/>
                    <a:pt x="68" y="258"/>
                  </a:cubicBezTo>
                  <a:cubicBezTo>
                    <a:pt x="0" y="258"/>
                    <a:pt x="0" y="258"/>
                    <a:pt x="0" y="258"/>
                  </a:cubicBezTo>
                  <a:lnTo>
                    <a:pt x="0" y="258"/>
                  </a:lnTo>
                  <a:cubicBezTo>
                    <a:pt x="0" y="654"/>
                    <a:pt x="0" y="654"/>
                    <a:pt x="0" y="654"/>
                  </a:cubicBezTo>
                  <a:lnTo>
                    <a:pt x="0" y="654"/>
                  </a:lnTo>
                  <a:cubicBezTo>
                    <a:pt x="641" y="654"/>
                    <a:pt x="641" y="654"/>
                    <a:pt x="641" y="654"/>
                  </a:cubicBezTo>
                  <a:cubicBezTo>
                    <a:pt x="653" y="654"/>
                    <a:pt x="653" y="654"/>
                    <a:pt x="653" y="654"/>
                  </a:cubicBezTo>
                  <a:cubicBezTo>
                    <a:pt x="653" y="258"/>
                    <a:pt x="653" y="258"/>
                    <a:pt x="653" y="258"/>
                  </a:cubicBezTo>
                  <a:cubicBezTo>
                    <a:pt x="653" y="258"/>
                    <a:pt x="653" y="258"/>
                    <a:pt x="641" y="258"/>
                  </a:cubicBezTo>
                  <a:close/>
                  <a:moveTo>
                    <a:pt x="327" y="55"/>
                  </a:moveTo>
                  <a:lnTo>
                    <a:pt x="327" y="55"/>
                  </a:lnTo>
                  <a:cubicBezTo>
                    <a:pt x="518" y="258"/>
                    <a:pt x="518" y="258"/>
                    <a:pt x="518" y="258"/>
                  </a:cubicBezTo>
                  <a:cubicBezTo>
                    <a:pt x="122" y="258"/>
                    <a:pt x="122" y="258"/>
                    <a:pt x="122" y="258"/>
                  </a:cubicBezTo>
                  <a:lnTo>
                    <a:pt x="327" y="55"/>
                  </a:lnTo>
                  <a:close/>
                  <a:moveTo>
                    <a:pt x="96" y="558"/>
                  </a:moveTo>
                  <a:lnTo>
                    <a:pt x="96" y="558"/>
                  </a:lnTo>
                  <a:cubicBezTo>
                    <a:pt x="82" y="558"/>
                    <a:pt x="68" y="558"/>
                    <a:pt x="54" y="545"/>
                  </a:cubicBezTo>
                  <a:cubicBezTo>
                    <a:pt x="68" y="531"/>
                    <a:pt x="68" y="531"/>
                    <a:pt x="68" y="531"/>
                  </a:cubicBezTo>
                  <a:cubicBezTo>
                    <a:pt x="68" y="531"/>
                    <a:pt x="82" y="545"/>
                    <a:pt x="110" y="545"/>
                  </a:cubicBezTo>
                  <a:cubicBezTo>
                    <a:pt x="122" y="545"/>
                    <a:pt x="136" y="531"/>
                    <a:pt x="136" y="517"/>
                  </a:cubicBezTo>
                  <a:cubicBezTo>
                    <a:pt x="136" y="489"/>
                    <a:pt x="136" y="489"/>
                    <a:pt x="110" y="477"/>
                  </a:cubicBezTo>
                  <a:cubicBezTo>
                    <a:pt x="82" y="463"/>
                    <a:pt x="54" y="449"/>
                    <a:pt x="54" y="422"/>
                  </a:cubicBezTo>
                  <a:cubicBezTo>
                    <a:pt x="54" y="395"/>
                    <a:pt x="82" y="381"/>
                    <a:pt x="122" y="381"/>
                  </a:cubicBezTo>
                  <a:cubicBezTo>
                    <a:pt x="136" y="381"/>
                    <a:pt x="150" y="381"/>
                    <a:pt x="164" y="381"/>
                  </a:cubicBezTo>
                  <a:cubicBezTo>
                    <a:pt x="150" y="409"/>
                    <a:pt x="150" y="409"/>
                    <a:pt x="150" y="409"/>
                  </a:cubicBezTo>
                  <a:cubicBezTo>
                    <a:pt x="150" y="395"/>
                    <a:pt x="136" y="395"/>
                    <a:pt x="122" y="395"/>
                  </a:cubicBezTo>
                  <a:cubicBezTo>
                    <a:pt x="96" y="395"/>
                    <a:pt x="82" y="409"/>
                    <a:pt x="82" y="422"/>
                  </a:cubicBezTo>
                  <a:cubicBezTo>
                    <a:pt x="82" y="435"/>
                    <a:pt x="96" y="449"/>
                    <a:pt x="122" y="449"/>
                  </a:cubicBezTo>
                  <a:cubicBezTo>
                    <a:pt x="150" y="463"/>
                    <a:pt x="164" y="477"/>
                    <a:pt x="164" y="504"/>
                  </a:cubicBezTo>
                  <a:cubicBezTo>
                    <a:pt x="164" y="531"/>
                    <a:pt x="150" y="558"/>
                    <a:pt x="96" y="558"/>
                  </a:cubicBezTo>
                  <a:close/>
                  <a:moveTo>
                    <a:pt x="313" y="558"/>
                  </a:moveTo>
                  <a:lnTo>
                    <a:pt x="313" y="558"/>
                  </a:lnTo>
                  <a:cubicBezTo>
                    <a:pt x="287" y="504"/>
                    <a:pt x="287" y="504"/>
                    <a:pt x="287" y="504"/>
                  </a:cubicBezTo>
                  <a:cubicBezTo>
                    <a:pt x="231" y="504"/>
                    <a:pt x="231" y="504"/>
                    <a:pt x="231" y="504"/>
                  </a:cubicBezTo>
                  <a:cubicBezTo>
                    <a:pt x="205" y="558"/>
                    <a:pt x="205" y="558"/>
                    <a:pt x="205" y="558"/>
                  </a:cubicBezTo>
                  <a:cubicBezTo>
                    <a:pt x="177" y="558"/>
                    <a:pt x="177" y="558"/>
                    <a:pt x="177" y="558"/>
                  </a:cubicBezTo>
                  <a:cubicBezTo>
                    <a:pt x="245" y="381"/>
                    <a:pt x="245" y="381"/>
                    <a:pt x="245" y="381"/>
                  </a:cubicBezTo>
                  <a:cubicBezTo>
                    <a:pt x="273" y="381"/>
                    <a:pt x="273" y="381"/>
                    <a:pt x="273" y="381"/>
                  </a:cubicBezTo>
                  <a:cubicBezTo>
                    <a:pt x="341" y="558"/>
                    <a:pt x="341" y="558"/>
                    <a:pt x="341" y="558"/>
                  </a:cubicBezTo>
                  <a:lnTo>
                    <a:pt x="313" y="558"/>
                  </a:lnTo>
                  <a:close/>
                  <a:moveTo>
                    <a:pt x="462" y="558"/>
                  </a:moveTo>
                  <a:lnTo>
                    <a:pt x="462" y="558"/>
                  </a:lnTo>
                  <a:cubicBezTo>
                    <a:pt x="368" y="558"/>
                    <a:pt x="368" y="558"/>
                    <a:pt x="368" y="558"/>
                  </a:cubicBezTo>
                  <a:cubicBezTo>
                    <a:pt x="368" y="381"/>
                    <a:pt x="368" y="381"/>
                    <a:pt x="368" y="381"/>
                  </a:cubicBezTo>
                  <a:cubicBezTo>
                    <a:pt x="382" y="381"/>
                    <a:pt x="382" y="381"/>
                    <a:pt x="382" y="381"/>
                  </a:cubicBezTo>
                  <a:cubicBezTo>
                    <a:pt x="382" y="545"/>
                    <a:pt x="382" y="545"/>
                    <a:pt x="382" y="545"/>
                  </a:cubicBezTo>
                  <a:cubicBezTo>
                    <a:pt x="462" y="545"/>
                    <a:pt x="462" y="545"/>
                    <a:pt x="462" y="545"/>
                  </a:cubicBezTo>
                  <a:lnTo>
                    <a:pt x="462" y="558"/>
                  </a:lnTo>
                  <a:close/>
                  <a:moveTo>
                    <a:pt x="585" y="558"/>
                  </a:moveTo>
                  <a:lnTo>
                    <a:pt x="585" y="558"/>
                  </a:lnTo>
                  <a:cubicBezTo>
                    <a:pt x="490" y="558"/>
                    <a:pt x="490" y="558"/>
                    <a:pt x="490" y="558"/>
                  </a:cubicBezTo>
                  <a:cubicBezTo>
                    <a:pt x="490" y="381"/>
                    <a:pt x="490" y="381"/>
                    <a:pt x="490" y="381"/>
                  </a:cubicBezTo>
                  <a:cubicBezTo>
                    <a:pt x="585" y="381"/>
                    <a:pt x="585" y="381"/>
                    <a:pt x="585" y="381"/>
                  </a:cubicBezTo>
                  <a:cubicBezTo>
                    <a:pt x="585" y="395"/>
                    <a:pt x="585" y="395"/>
                    <a:pt x="585" y="395"/>
                  </a:cubicBezTo>
                  <a:cubicBezTo>
                    <a:pt x="518" y="395"/>
                    <a:pt x="518" y="395"/>
                    <a:pt x="518" y="395"/>
                  </a:cubicBezTo>
                  <a:cubicBezTo>
                    <a:pt x="518" y="449"/>
                    <a:pt x="518" y="449"/>
                    <a:pt x="518" y="449"/>
                  </a:cubicBezTo>
                  <a:cubicBezTo>
                    <a:pt x="585" y="449"/>
                    <a:pt x="585" y="449"/>
                    <a:pt x="585" y="449"/>
                  </a:cubicBezTo>
                  <a:cubicBezTo>
                    <a:pt x="585" y="477"/>
                    <a:pt x="585" y="477"/>
                    <a:pt x="585" y="477"/>
                  </a:cubicBezTo>
                  <a:cubicBezTo>
                    <a:pt x="518" y="477"/>
                    <a:pt x="518" y="477"/>
                    <a:pt x="518" y="477"/>
                  </a:cubicBezTo>
                  <a:cubicBezTo>
                    <a:pt x="518" y="545"/>
                    <a:pt x="518" y="545"/>
                    <a:pt x="518" y="545"/>
                  </a:cubicBezTo>
                  <a:cubicBezTo>
                    <a:pt x="585" y="545"/>
                    <a:pt x="585" y="545"/>
                    <a:pt x="585" y="545"/>
                  </a:cubicBezTo>
                  <a:lnTo>
                    <a:pt x="585" y="558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  <p:sp>
          <p:nvSpPr>
            <p:cNvPr id="47" name="Freeform 585"/>
            <p:cNvSpPr>
              <a:spLocks noChangeArrowheads="1"/>
            </p:cNvSpPr>
            <p:nvPr/>
          </p:nvSpPr>
          <p:spPr bwMode="auto">
            <a:xfrm>
              <a:off x="16153089" y="11160709"/>
              <a:ext cx="54346" cy="79454"/>
            </a:xfrm>
            <a:custGeom>
              <a:avLst/>
              <a:gdLst>
                <a:gd name="T0" fmla="*/ 28 w 57"/>
                <a:gd name="T1" fmla="*/ 0 h 83"/>
                <a:gd name="T2" fmla="*/ 28 w 57"/>
                <a:gd name="T3" fmla="*/ 0 h 83"/>
                <a:gd name="T4" fmla="*/ 28 w 57"/>
                <a:gd name="T5" fmla="*/ 0 h 83"/>
                <a:gd name="T6" fmla="*/ 14 w 57"/>
                <a:gd name="T7" fmla="*/ 40 h 83"/>
                <a:gd name="T8" fmla="*/ 0 w 57"/>
                <a:gd name="T9" fmla="*/ 82 h 83"/>
                <a:gd name="T10" fmla="*/ 56 w 57"/>
                <a:gd name="T11" fmla="*/ 82 h 83"/>
                <a:gd name="T12" fmla="*/ 42 w 57"/>
                <a:gd name="T13" fmla="*/ 40 h 83"/>
                <a:gd name="T14" fmla="*/ 28 w 57"/>
                <a:gd name="T1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83">
                  <a:moveTo>
                    <a:pt x="28" y="0"/>
                  </a:moveTo>
                  <a:lnTo>
                    <a:pt x="28" y="0"/>
                  </a:lnTo>
                  <a:lnTo>
                    <a:pt x="28" y="0"/>
                  </a:lnTo>
                  <a:cubicBezTo>
                    <a:pt x="28" y="14"/>
                    <a:pt x="28" y="27"/>
                    <a:pt x="14" y="4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28" y="27"/>
                    <a:pt x="28" y="14"/>
                    <a:pt x="28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152366" tIns="76183" rIns="152366" bIns="76183" anchor="ctr"/>
            <a:lstStyle/>
            <a:p>
              <a:pPr defTabSz="10883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Lato Light"/>
                <a:ea typeface="+mn-ea"/>
                <a:cs typeface="Lato Light"/>
              </a:endParaRPr>
            </a:p>
          </p:txBody>
        </p:sp>
      </p:grpSp>
      <p:sp>
        <p:nvSpPr>
          <p:cNvPr id="48" name="TextBox 47"/>
          <p:cNvSpPr txBox="1"/>
          <p:nvPr userDrawn="1"/>
        </p:nvSpPr>
        <p:spPr>
          <a:xfrm>
            <a:off x="4187582" y="6398925"/>
            <a:ext cx="1657818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800" b="1" dirty="0">
                <a:ln w="31550" cmpd="sng">
                  <a:gradFill>
                    <a:gsLst>
                      <a:gs pos="70000">
                        <a:schemeClr val="accent6">
                          <a:shade val="50000"/>
                          <a:satMod val="190000"/>
                        </a:schemeClr>
                      </a:gs>
                      <a:gs pos="0">
                        <a:schemeClr val="accent6">
                          <a:tint val="77000"/>
                          <a:satMod val="18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accent6">
                    <a:tint val="15000"/>
                    <a:satMod val="200000"/>
                  </a:scheme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Welcome To LUXSHARE</a:t>
            </a:r>
            <a:endParaRPr lang="zh-CN" altLang="en-US" sz="8800" b="1" dirty="0">
              <a:ln w="31550" cmpd="sng">
                <a:gradFill>
                  <a:gsLst>
                    <a:gs pos="70000">
                      <a:schemeClr val="accent6">
                        <a:shade val="50000"/>
                        <a:satMod val="190000"/>
                      </a:schemeClr>
                    </a:gs>
                    <a:gs pos="0">
                      <a:schemeClr val="accent6">
                        <a:tint val="77000"/>
                        <a:satMod val="18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chemeClr val="accent6">
                  <a:tint val="15000"/>
                  <a:satMod val="200000"/>
                </a:schemeClr>
              </a:solidFill>
              <a:effectLst>
                <a:outerShdw blurRad="50800" dist="40000" dir="5400000" algn="tl" rotWithShape="0">
                  <a:srgbClr val="000000">
                    <a:shade val="5000"/>
                    <a:satMod val="120000"/>
                    <a:alpha val="33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9" name="Picture Placeholder 6" descr="德國工廠-塑科精密 copy.jpg"/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7" y="0"/>
            <a:ext cx="24377650" cy="9673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50" name="图片 4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748831" y="13070899"/>
            <a:ext cx="4045545" cy="645101"/>
          </a:xfrm>
          <a:prstGeom prst="rect">
            <a:avLst/>
          </a:prstGeom>
        </p:spPr>
      </p:pic>
      <p:pic>
        <p:nvPicPr>
          <p:cNvPr id="51" name="图片 5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61" y="508567"/>
            <a:ext cx="6332811" cy="20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36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25029"/>
            <a:ext cx="22074250" cy="170688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354"/>
          <a:stretch/>
        </p:blipFill>
        <p:spPr>
          <a:xfrm>
            <a:off x="36576" y="18288"/>
            <a:ext cx="24377650" cy="12563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70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25029"/>
            <a:ext cx="22074250" cy="1706880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51700" y="3413760"/>
            <a:ext cx="22074250" cy="8534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3732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27853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3199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944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51700" y="2926080"/>
            <a:ext cx="22074250" cy="636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25027"/>
            <a:ext cx="22074250" cy="1706880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51700" y="4145280"/>
            <a:ext cx="22074250" cy="80467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3732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27853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3199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029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25029"/>
            <a:ext cx="22074250" cy="1706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1151700" y="3413760"/>
            <a:ext cx="10461275" cy="8534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defRPr sz="3732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32084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799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4799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12764675" y="3413760"/>
            <a:ext cx="10461275" cy="8534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defRPr sz="3732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32084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4799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4799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71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51701" y="731517"/>
            <a:ext cx="11424435" cy="17068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1151700" y="3413760"/>
            <a:ext cx="11420652" cy="8534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defRPr sz="3732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32084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666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4799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1189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151702" y="731522"/>
            <a:ext cx="13443823" cy="8863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51700" y="3413760"/>
            <a:ext cx="11457496" cy="8534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3732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27853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3199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51700" y="2184400"/>
            <a:ext cx="11457496" cy="636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08939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151700" y="731521"/>
            <a:ext cx="11457496" cy="177279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51700" y="4145280"/>
            <a:ext cx="11457496" cy="80467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3199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3732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27853" indent="-617912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3199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2666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AAAAAA"/>
              </a:buClr>
              <a:defRPr sz="3199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4799"/>
            </a:lvl6pPr>
            <a:lvl7pPr>
              <a:defRPr sz="4799"/>
            </a:lvl7pPr>
            <a:lvl8pPr>
              <a:defRPr sz="4799"/>
            </a:lvl8pPr>
            <a:lvl9pPr>
              <a:defRPr sz="4799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51700" y="2968928"/>
            <a:ext cx="11457496" cy="636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3826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89805532"/>
              </p:ext>
            </p:extLst>
          </p:nvPr>
        </p:nvGraphicFramePr>
        <p:xfrm>
          <a:off x="4235" y="4236"/>
          <a:ext cx="4231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235" y="4236"/>
                        <a:ext cx="4231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txBody>
          <a:bodyPr wrap="none" lIns="0" tIns="0" rIns="0" bIns="0" rtlCol="0" anchor="ctr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altLang="zh-CN" sz="6665" b="0" i="0" baseline="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1151700" y="889621"/>
            <a:ext cx="22074250" cy="112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content page title</a:t>
            </a:r>
          </a:p>
        </p:txBody>
      </p:sp>
      <p:sp>
        <p:nvSpPr>
          <p:cNvPr id="16" name="TextBox 15" hidden="1"/>
          <p:cNvSpPr txBox="1"/>
          <p:nvPr/>
        </p:nvSpPr>
        <p:spPr>
          <a:xfrm>
            <a:off x="5053287" y="12867609"/>
            <a:ext cx="1731648" cy="3322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2437790" rtl="0" eaLnBrk="1" fontAlgn="base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fld id="{E00CF047-7350-4707-AA1A-E56FA69586CC}" type="datetime1">
              <a:rPr kumimoji="0" lang="en-US" sz="2399" b="0" i="0" u="none" strike="noStrike" kern="1200" cap="none" spc="0" normalizeH="0" baseline="0" noProof="0" smtClean="0">
                <a:ln>
                  <a:noFill/>
                </a:ln>
                <a:solidFill>
                  <a:srgbClr val="444444">
                    <a:lumMod val="50000"/>
                    <a:lumOff val="50000"/>
                  </a:srgbClr>
                </a:solidFill>
                <a:effectLst/>
                <a:uLnTx/>
                <a:uFillTx/>
                <a:latin typeface="Museo Sans For Dell"/>
                <a:ea typeface="+mn-ea"/>
                <a:cs typeface="+mn-cs"/>
              </a:rPr>
              <a:pPr marL="0" marR="0" lvl="0" indent="0" algn="l" defTabSz="2437790" rtl="0" eaLnBrk="1" fontAlgn="base" latinLnBrk="0" hangingPunct="1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t>11/20/2024</a:t>
            </a:fld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444444">
                  <a:lumMod val="50000"/>
                  <a:lumOff val="50000"/>
                </a:srgbClr>
              </a:solidFill>
              <a:effectLst/>
              <a:uLnTx/>
              <a:uFillTx/>
              <a:latin typeface="Museo Sans For Dell"/>
              <a:ea typeface="+mn-ea"/>
              <a:cs typeface="+mn-cs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5053287" y="12867609"/>
            <a:ext cx="1731648" cy="3322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2437790" rtl="0" eaLnBrk="1" fontAlgn="base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fld id="{E00CF047-7350-4707-AA1A-E56FA69586CC}" type="datetime1">
              <a:rPr kumimoji="0" lang="en-US" sz="2399" b="0" i="0" u="none" strike="noStrike" kern="1200" cap="none" spc="0" normalizeH="0" baseline="0" noProof="0" smtClean="0">
                <a:ln>
                  <a:noFill/>
                </a:ln>
                <a:solidFill>
                  <a:srgbClr val="444444">
                    <a:lumMod val="50000"/>
                    <a:lumOff val="50000"/>
                  </a:srgbClr>
                </a:solidFill>
                <a:effectLst/>
                <a:uLnTx/>
                <a:uFillTx/>
                <a:latin typeface="Museo Sans For Dell"/>
                <a:ea typeface="+mn-ea"/>
                <a:cs typeface="+mn-cs"/>
              </a:rPr>
              <a:pPr marL="0" marR="0" lvl="0" indent="0" algn="l" defTabSz="2437790" rtl="0" eaLnBrk="1" fontAlgn="base" latinLnBrk="0" hangingPunct="1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>
                  <a:srgbClr val="0085C3"/>
                </a:buClr>
                <a:buSzTx/>
                <a:buFontTx/>
                <a:buNone/>
                <a:tabLst/>
                <a:defRPr/>
              </a:pPr>
              <a:t>11/20/2024</a:t>
            </a:fld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444444">
                  <a:lumMod val="50000"/>
                  <a:lumOff val="50000"/>
                </a:srgbClr>
              </a:solidFill>
              <a:effectLst/>
              <a:uLnTx/>
              <a:uFillTx/>
              <a:latin typeface="Museo Sans For Dell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7192" y="12996925"/>
            <a:ext cx="706952" cy="2377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243779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85C3"/>
              </a:buClr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srgbClr val="444444">
                  <a:lumMod val="50000"/>
                  <a:lumOff val="50000"/>
                </a:srgbClr>
              </a:solidFill>
              <a:effectLst/>
              <a:uLnTx/>
              <a:uFillTx/>
              <a:latin typeface="Museo Sans For Dell"/>
              <a:ea typeface="+mn-ea"/>
              <a:cs typeface="+mn-cs"/>
            </a:endParaRPr>
          </a:p>
        </p:txBody>
      </p:sp>
      <p:pic>
        <p:nvPicPr>
          <p:cNvPr id="14" name="Picture 13" descr="LUXSHARE-ICT LOGO(原).png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6384" y="12702825"/>
            <a:ext cx="2569566" cy="579227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0515601" y="12996925"/>
            <a:ext cx="3699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altLang="zh-CN" sz="2000" dirty="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en-US" altLang="zh-CN" sz="2000" baseline="0" dirty="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se – confidential </a:t>
            </a:r>
            <a:endParaRPr lang="zh-CN" altLang="en-US" sz="2000" dirty="0">
              <a:solidFill>
                <a:schemeClr val="tx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9637776" y="5468112"/>
            <a:ext cx="3017520" cy="987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endParaRPr lang="zh-CN" altLang="en-US" sz="14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018983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60" r:id="rId11"/>
    <p:sldLayoutId id="2147483882" r:id="rId12"/>
    <p:sldLayoutId id="2147483757" r:id="rId13"/>
    <p:sldLayoutId id="2147483818" r:id="rId14"/>
    <p:sldLayoutId id="2147483819" r:id="rId15"/>
    <p:sldLayoutId id="2147483820" r:id="rId16"/>
    <p:sldLayoutId id="2147483822" r:id="rId17"/>
    <p:sldLayoutId id="2147483847" r:id="rId18"/>
  </p:sldLayoutIdLst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6000" b="0" cap="none" baseline="0">
          <a:solidFill>
            <a:schemeClr val="bg1">
              <a:lumMod val="50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8531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8531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8531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8531" b="1">
          <a:solidFill>
            <a:schemeClr val="accent1"/>
          </a:solidFill>
          <a:latin typeface="Arial Black" pitchFamily="34" charset="0"/>
        </a:defRPr>
      </a:lvl5pPr>
      <a:lvl6pPr marL="12188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11730" b="1">
          <a:solidFill>
            <a:schemeClr val="accent1"/>
          </a:solidFill>
          <a:latin typeface="Arial Black" pitchFamily="34" charset="0"/>
        </a:defRPr>
      </a:lvl6pPr>
      <a:lvl7pPr marL="24377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11730" b="1">
          <a:solidFill>
            <a:schemeClr val="accent1"/>
          </a:solidFill>
          <a:latin typeface="Arial Black" pitchFamily="34" charset="0"/>
        </a:defRPr>
      </a:lvl7pPr>
      <a:lvl8pPr marL="3656686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11730" b="1">
          <a:solidFill>
            <a:schemeClr val="accent1"/>
          </a:solidFill>
          <a:latin typeface="Arial Black" pitchFamily="34" charset="0"/>
        </a:defRPr>
      </a:lvl8pPr>
      <a:lvl9pPr marL="4875581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11730" b="1">
          <a:solidFill>
            <a:schemeClr val="accent1"/>
          </a:solidFill>
          <a:latin typeface="Arial Black" pitchFamily="34" charset="0"/>
        </a:defRPr>
      </a:lvl9pPr>
    </p:titleStyle>
    <p:bodyStyle>
      <a:lvl1pPr marL="609448" indent="-609448" algn="l" rtl="0" eaLnBrk="1" fontAlgn="base" hangingPunct="1">
        <a:lnSpc>
          <a:spcPct val="100000"/>
        </a:lnSpc>
        <a:spcBef>
          <a:spcPts val="3199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3732">
          <a:solidFill>
            <a:schemeClr val="bg2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1532084" indent="-622146" algn="l" rtl="0" eaLnBrk="1" fontAlgn="base" hangingPunct="1">
        <a:lnSpc>
          <a:spcPct val="100000"/>
        </a:lnSpc>
        <a:spcBef>
          <a:spcPts val="8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3199" baseline="0">
          <a:solidFill>
            <a:schemeClr val="bg2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2425095" indent="-588288" algn="l" rtl="0" eaLnBrk="1" fontAlgn="base" hangingPunct="1">
        <a:lnSpc>
          <a:spcPct val="100000"/>
        </a:lnSpc>
        <a:spcBef>
          <a:spcPts val="8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2666" baseline="0">
          <a:solidFill>
            <a:schemeClr val="bg2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3322337" indent="-592519" algn="l" rtl="0" eaLnBrk="1" fontAlgn="base" hangingPunct="1">
        <a:lnSpc>
          <a:spcPct val="90000"/>
        </a:lnSpc>
        <a:spcBef>
          <a:spcPts val="8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2666" baseline="0">
          <a:solidFill>
            <a:schemeClr val="bg2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4287296" indent="-630610" algn="l" rtl="0" eaLnBrk="1" fontAlgn="base" hangingPunct="1">
        <a:lnSpc>
          <a:spcPct val="90000"/>
        </a:lnSpc>
        <a:spcBef>
          <a:spcPts val="2133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4799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5506191" indent="-6306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4266">
          <a:solidFill>
            <a:schemeClr val="accent1"/>
          </a:solidFill>
          <a:latin typeface="+mn-lt"/>
        </a:defRPr>
      </a:lvl6pPr>
      <a:lvl7pPr marL="6725086" indent="-6306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4266">
          <a:solidFill>
            <a:schemeClr val="accent1"/>
          </a:solidFill>
          <a:latin typeface="+mn-lt"/>
        </a:defRPr>
      </a:lvl7pPr>
      <a:lvl8pPr marL="7943982" indent="-6306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4266">
          <a:solidFill>
            <a:schemeClr val="accent1"/>
          </a:solidFill>
          <a:latin typeface="+mn-lt"/>
        </a:defRPr>
      </a:lvl8pPr>
      <a:lvl9pPr marL="9162877" indent="-630610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4266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1pPr>
      <a:lvl2pPr marL="1218895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437790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3pPr>
      <a:lvl4pPr marL="3656686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4pPr>
      <a:lvl5pPr marL="4875581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5pPr>
      <a:lvl6pPr marL="6094476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6pPr>
      <a:lvl7pPr marL="7313371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7pPr>
      <a:lvl8pPr marL="8532266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8pPr>
      <a:lvl9pPr marL="9751162" algn="l" defTabSz="2437790" rtl="0" eaLnBrk="1" latinLnBrk="0" hangingPunct="1">
        <a:defRPr sz="4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719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50" r:id="rId10"/>
    <p:sldLayoutId id="2147483951" r:id="rId11"/>
  </p:sldLayoutIdLst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9.xml"/><Relationship Id="rId1" Type="http://schemas.openxmlformats.org/officeDocument/2006/relationships/themeOverride" Target="../theme/themeOverr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1493979" y="-174836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43797" tIns="121899" rIns="243797" bIns="1218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1493979" y="-174836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43797" tIns="121899" rIns="243797" bIns="1218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/>
          <a:srcRect r="36309"/>
          <a:stretch/>
        </p:blipFill>
        <p:spPr>
          <a:xfrm>
            <a:off x="12737805" y="8538422"/>
            <a:ext cx="11129482" cy="2849852"/>
          </a:xfrm>
          <a:prstGeom prst="rect">
            <a:avLst/>
          </a:prstGeom>
        </p:spPr>
      </p:pic>
      <p:sp>
        <p:nvSpPr>
          <p:cNvPr id="9" name="Line 5"/>
          <p:cNvSpPr>
            <a:spLocks noChangeShapeType="1"/>
          </p:cNvSpPr>
          <p:nvPr/>
        </p:nvSpPr>
        <p:spPr bwMode="auto">
          <a:xfrm>
            <a:off x="1493972" y="-174836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43797" tIns="121899" rIns="243797" bIns="1218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>
            <a:off x="1493972" y="-174836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43797" tIns="121899" rIns="243797" bIns="1218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7" name="Picture Placeholder 6" descr="德國工廠-塑科精密 copy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328"/>
            <a:ext cx="24377650" cy="8534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10189047" y="12796388"/>
            <a:ext cx="3401447" cy="693542"/>
          </a:xfrm>
          <a:prstGeom prst="rect">
            <a:avLst/>
          </a:prstGeom>
        </p:spPr>
      </p:pic>
      <p:sp>
        <p:nvSpPr>
          <p:cNvPr id="12" name="TextBox 2"/>
          <p:cNvSpPr txBox="1"/>
          <p:nvPr/>
        </p:nvSpPr>
        <p:spPr>
          <a:xfrm>
            <a:off x="2042297" y="9687489"/>
            <a:ext cx="8573664" cy="2335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汇报人 </a:t>
            </a:r>
            <a:r>
              <a:rPr lang="en-US" altLang="zh-CN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eporter</a:t>
            </a: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：袁明月</a:t>
            </a:r>
            <a:endParaRPr lang="en-US" altLang="zh-CN" b="1" dirty="0">
              <a:solidFill>
                <a:schemeClr val="bg2"/>
              </a:solidFill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部   门 </a:t>
            </a:r>
            <a:r>
              <a:rPr lang="en-US" altLang="zh-CN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epartment</a:t>
            </a: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：嵌入式软件部</a:t>
            </a:r>
            <a:endParaRPr lang="en-US" altLang="zh-CN" b="1" dirty="0">
              <a:solidFill>
                <a:schemeClr val="bg2"/>
              </a:solidFill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日   期 </a:t>
            </a:r>
            <a:r>
              <a:rPr lang="en-US" altLang="zh-CN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ate</a:t>
            </a:r>
            <a:r>
              <a:rPr lang="zh-CN" altLang="en-US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：</a:t>
            </a:r>
            <a:r>
              <a:rPr lang="en-US" altLang="zh-CN" b="1" dirty="0">
                <a:solidFill>
                  <a:schemeClr val="bg2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024/11/04</a:t>
            </a:r>
            <a:endParaRPr lang="zh-CN" altLang="en-US" b="1" dirty="0">
              <a:solidFill>
                <a:schemeClr val="bg2"/>
              </a:solidFill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3693288"/>
            <a:ext cx="14257176" cy="3266264"/>
          </a:xfrm>
          <a:prstGeom prst="rect">
            <a:avLst/>
          </a:prstGeom>
          <a:solidFill>
            <a:srgbClr val="FFFFFF">
              <a:alpha val="65882"/>
            </a:srgbClr>
          </a:solidFill>
        </p:spPr>
        <p:txBody>
          <a:bodyPr wrap="square" lIns="182880" tIns="137160" rIns="137160" bIns="137160" rtlCol="0" anchor="ctr">
            <a:noAutofit/>
          </a:bodyPr>
          <a:lstStyle/>
          <a:p>
            <a:pPr algn="dist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zh-CN" altLang="en-US" sz="13800" dirty="0">
              <a:solidFill>
                <a:srgbClr val="0B3864"/>
              </a:solidFill>
              <a:latin typeface="Arial" panose="020B0604020202020204" pitchFamily="34" charset="0"/>
              <a:ea typeface="华文琥珀" panose="020108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304800" y="3693288"/>
            <a:ext cx="13647575" cy="3266264"/>
          </a:xfrm>
          <a:prstGeom prst="roundRect">
            <a:avLst/>
          </a:prstGeom>
          <a:noFill/>
          <a:ln>
            <a:noFill/>
          </a:ln>
          <a:effectLst>
            <a:softEdge rad="317500"/>
          </a:effectLst>
        </p:spPr>
        <p:txBody>
          <a:bodyPr wrap="square" lIns="182880" tIns="137160" rIns="137160" bIns="137160" rtlCol="0" anchor="ctr">
            <a:noAutofit/>
          </a:bodyPr>
          <a:lstStyle/>
          <a:p>
            <a:pPr algn="dist">
              <a:spcBef>
                <a:spcPts val="600"/>
              </a:spcBef>
              <a:buClr>
                <a:schemeClr val="bg1"/>
              </a:buClr>
            </a:pPr>
            <a:r>
              <a:rPr lang="en-US" altLang="zh-CN" sz="7200" b="1" dirty="0">
                <a:solidFill>
                  <a:schemeClr val="bg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Personal Debriefing Report</a:t>
            </a:r>
          </a:p>
          <a:p>
            <a:pPr algn="dist">
              <a:spcBef>
                <a:spcPts val="600"/>
              </a:spcBef>
              <a:buClr>
                <a:schemeClr val="bg1"/>
              </a:buClr>
            </a:pPr>
            <a:r>
              <a:rPr lang="zh-CN" altLang="en-US" sz="9600" b="1" dirty="0">
                <a:solidFill>
                  <a:schemeClr val="bg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个 人 述 职 报 告</a:t>
            </a:r>
          </a:p>
        </p:txBody>
      </p:sp>
    </p:spTree>
    <p:extLst>
      <p:ext uri="{BB962C8B-B14F-4D97-AF65-F5344CB8AC3E}">
        <p14:creationId xmlns:p14="http://schemas.microsoft.com/office/powerpoint/2010/main" val="201760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ïṧlîḑé">
            <a:extLst>
              <a:ext uri="{FF2B5EF4-FFF2-40B4-BE49-F238E27FC236}">
                <a16:creationId xmlns:a16="http://schemas.microsoft.com/office/drawing/2014/main" id="{F6C0B8BD-8162-4FCA-B7AC-235FD87189C5}"/>
              </a:ext>
            </a:extLst>
          </p:cNvPr>
          <p:cNvSpPr txBox="1"/>
          <p:nvPr/>
        </p:nvSpPr>
        <p:spPr>
          <a:xfrm>
            <a:off x="1838366" y="1659159"/>
            <a:ext cx="9583133" cy="227170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zh-CN" altLang="en-US" sz="9600" b="1" dirty="0"/>
              <a:t>目录</a:t>
            </a:r>
            <a:endParaRPr lang="en-US" altLang="zh-CN" sz="9600" b="1" dirty="0"/>
          </a:p>
          <a:p>
            <a:pPr>
              <a:buSzPct val="25000"/>
            </a:pPr>
            <a:r>
              <a:rPr lang="en-US" altLang="zh-CN" sz="7200" b="1" dirty="0"/>
              <a:t>CONTENTS</a:t>
            </a:r>
          </a:p>
        </p:txBody>
      </p:sp>
      <p:sp>
        <p:nvSpPr>
          <p:cNvPr id="18" name="îṣľîḑé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3681717" y="4072672"/>
            <a:ext cx="8068500" cy="80060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4400" b="1" dirty="0"/>
              <a:t>试用期主要业绩</a:t>
            </a:r>
            <a:endParaRPr lang="id-ID" sz="4400" b="1" dirty="0"/>
          </a:p>
        </p:txBody>
      </p:sp>
      <p:sp>
        <p:nvSpPr>
          <p:cNvPr id="19" name="ïśļíḓ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3681717" y="4873280"/>
            <a:ext cx="8068500" cy="121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2400" dirty="0"/>
              <a:t>Main achievements</a:t>
            </a:r>
          </a:p>
        </p:txBody>
      </p:sp>
      <p:sp>
        <p:nvSpPr>
          <p:cNvPr id="7" name="iSļiḓe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2092507" y="4413273"/>
            <a:ext cx="938229" cy="7441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800" b="1" dirty="0">
                <a:solidFill>
                  <a:schemeClr val="bg1">
                    <a:lumMod val="75000"/>
                  </a:schemeClr>
                </a:solidFill>
              </a:rPr>
              <a:t>02</a:t>
            </a:r>
            <a:endParaRPr lang="id-ID" sz="2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îŝ1îḓe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3681717" y="6350797"/>
            <a:ext cx="8068500" cy="80060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4400" b="1" dirty="0"/>
              <a:t>不足与改善</a:t>
            </a:r>
          </a:p>
        </p:txBody>
      </p:sp>
      <p:sp>
        <p:nvSpPr>
          <p:cNvPr id="17" name="iS1iḍè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3681717" y="7151405"/>
            <a:ext cx="8068500" cy="121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2400" dirty="0"/>
              <a:t>Deficiencies and improvement</a:t>
            </a:r>
          </a:p>
        </p:txBody>
      </p:sp>
      <p:sp>
        <p:nvSpPr>
          <p:cNvPr id="9" name="îŝ1iḍè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2092507" y="6691397"/>
            <a:ext cx="938229" cy="7441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800" b="1" dirty="0">
                <a:solidFill>
                  <a:schemeClr val="bg1">
                    <a:lumMod val="75000"/>
                  </a:schemeClr>
                </a:solidFill>
              </a:rPr>
              <a:t>03</a:t>
            </a:r>
            <a:endParaRPr lang="id-ID" sz="2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ïśļiḍè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3681717" y="8685412"/>
            <a:ext cx="8068500" cy="80060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4400" b="1" dirty="0"/>
              <a:t>对团队的建议</a:t>
            </a:r>
            <a:endParaRPr lang="id-ID" sz="4400" b="1" dirty="0"/>
          </a:p>
        </p:txBody>
      </p:sp>
      <p:sp>
        <p:nvSpPr>
          <p:cNvPr id="15" name="í$ḻïḓe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3681717" y="9486020"/>
            <a:ext cx="8068500" cy="121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2400" dirty="0"/>
              <a:t>Suggestions to the team</a:t>
            </a:r>
          </a:p>
        </p:txBody>
      </p:sp>
      <p:sp>
        <p:nvSpPr>
          <p:cNvPr id="11" name="íš1id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2092507" y="9026013"/>
            <a:ext cx="938229" cy="7441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800" b="1" dirty="0">
                <a:solidFill>
                  <a:schemeClr val="bg1">
                    <a:lumMod val="75000"/>
                  </a:schemeClr>
                </a:solidFill>
              </a:rPr>
              <a:t>04</a:t>
            </a:r>
            <a:endParaRPr lang="id-ID" sz="2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13881076" y="6077896"/>
            <a:ext cx="920752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13881076" y="8363937"/>
            <a:ext cx="920752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1876532" y="5184784"/>
            <a:ext cx="9544967" cy="6007323"/>
            <a:chOff x="1232495" y="4098700"/>
            <a:chExt cx="9544967" cy="6007323"/>
          </a:xfrm>
          <a:blipFill>
            <a:blip r:embed="rId2"/>
            <a:stretch>
              <a:fillRect/>
            </a:stretch>
          </a:blipFill>
        </p:grpSpPr>
        <p:sp>
          <p:nvSpPr>
            <p:cNvPr id="26" name="平行四边形 25"/>
            <p:cNvSpPr/>
            <p:nvPr/>
          </p:nvSpPr>
          <p:spPr>
            <a:xfrm>
              <a:off x="1966680" y="4141355"/>
              <a:ext cx="2985615" cy="5964668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平行四边形 26"/>
            <p:cNvSpPr/>
            <p:nvPr/>
          </p:nvSpPr>
          <p:spPr>
            <a:xfrm>
              <a:off x="5055709" y="4120186"/>
              <a:ext cx="2756588" cy="5964668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8" name="平行四边形 27"/>
            <p:cNvSpPr/>
            <p:nvPr/>
          </p:nvSpPr>
          <p:spPr>
            <a:xfrm>
              <a:off x="7628638" y="4098700"/>
              <a:ext cx="2494292" cy="5964668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矩形 28"/>
            <p:cNvSpPr/>
            <p:nvPr/>
          </p:nvSpPr>
          <p:spPr>
            <a:xfrm>
              <a:off x="1232495" y="4167158"/>
              <a:ext cx="442643" cy="59176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矩形 29"/>
            <p:cNvSpPr/>
            <p:nvPr/>
          </p:nvSpPr>
          <p:spPr>
            <a:xfrm>
              <a:off x="9137837" y="4098700"/>
              <a:ext cx="1639625" cy="59411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3" name="ïśļiḍè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3681717" y="11012528"/>
            <a:ext cx="8068500" cy="80060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4400" b="1" dirty="0"/>
              <a:t>未来工作规划</a:t>
            </a:r>
          </a:p>
        </p:txBody>
      </p:sp>
      <p:sp>
        <p:nvSpPr>
          <p:cNvPr id="34" name="í$ḻïḓe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3681717" y="11813136"/>
            <a:ext cx="8068500" cy="121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2400" dirty="0"/>
              <a:t>Work Plan</a:t>
            </a:r>
          </a:p>
        </p:txBody>
      </p:sp>
      <p:sp>
        <p:nvSpPr>
          <p:cNvPr id="35" name="íš1idê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2092507" y="11353129"/>
            <a:ext cx="938229" cy="7441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800" b="1" dirty="0">
                <a:solidFill>
                  <a:schemeClr val="bg1">
                    <a:lumMod val="75000"/>
                  </a:schemeClr>
                </a:solidFill>
              </a:rPr>
              <a:t>05</a:t>
            </a:r>
            <a:endParaRPr lang="id-ID" sz="2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6" name="直接连接符 35"/>
          <p:cNvCxnSpPr/>
          <p:nvPr/>
        </p:nvCxnSpPr>
        <p:spPr>
          <a:xfrm>
            <a:off x="13881076" y="10629429"/>
            <a:ext cx="920752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îṣľîḑé">
            <a:extLst>
              <a:ext uri="{FF2B5EF4-FFF2-40B4-BE49-F238E27FC236}">
                <a16:creationId xmlns:a16="http://schemas.microsoft.com/office/drawing/2014/main" id="{364626C5-D56A-B750-63FD-7EF1FF3BA670}"/>
              </a:ext>
            </a:extLst>
          </p:cNvPr>
          <p:cNvSpPr txBox="1"/>
          <p:nvPr/>
        </p:nvSpPr>
        <p:spPr>
          <a:xfrm>
            <a:off x="13655215" y="1660773"/>
            <a:ext cx="8068500" cy="80060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4400" b="1" dirty="0"/>
              <a:t>个人简历</a:t>
            </a:r>
            <a:endParaRPr lang="id-ID" sz="4400" b="1" dirty="0"/>
          </a:p>
        </p:txBody>
      </p:sp>
      <p:sp>
        <p:nvSpPr>
          <p:cNvPr id="3" name="ïśļíḓè">
            <a:extLst>
              <a:ext uri="{FF2B5EF4-FFF2-40B4-BE49-F238E27FC236}">
                <a16:creationId xmlns:a16="http://schemas.microsoft.com/office/drawing/2014/main" id="{B732A511-2085-5734-6EC2-ED70BC901820}"/>
              </a:ext>
            </a:extLst>
          </p:cNvPr>
          <p:cNvSpPr/>
          <p:nvPr/>
        </p:nvSpPr>
        <p:spPr bwMode="auto">
          <a:xfrm>
            <a:off x="13655215" y="2461381"/>
            <a:ext cx="8068500" cy="121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2400" dirty="0"/>
              <a:t>Personal resume</a:t>
            </a:r>
          </a:p>
        </p:txBody>
      </p:sp>
      <p:sp>
        <p:nvSpPr>
          <p:cNvPr id="4" name="iSļiḓe">
            <a:extLst>
              <a:ext uri="{FF2B5EF4-FFF2-40B4-BE49-F238E27FC236}">
                <a16:creationId xmlns:a16="http://schemas.microsoft.com/office/drawing/2014/main" id="{71C0034B-EB80-FE99-6BA9-5361786D0663}"/>
              </a:ext>
            </a:extLst>
          </p:cNvPr>
          <p:cNvSpPr txBox="1"/>
          <p:nvPr/>
        </p:nvSpPr>
        <p:spPr>
          <a:xfrm>
            <a:off x="12066005" y="2001374"/>
            <a:ext cx="938229" cy="7441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prstTxWarp prst="textPlain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800" b="1" dirty="0">
                <a:solidFill>
                  <a:schemeClr val="bg1">
                    <a:lumMod val="75000"/>
                  </a:schemeClr>
                </a:solidFill>
              </a:rPr>
              <a:t>01</a:t>
            </a:r>
            <a:endParaRPr lang="id-ID" sz="2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D7610BBA-37D3-C56F-54D1-BB3F0035650E}"/>
              </a:ext>
            </a:extLst>
          </p:cNvPr>
          <p:cNvCxnSpPr/>
          <p:nvPr/>
        </p:nvCxnSpPr>
        <p:spPr>
          <a:xfrm>
            <a:off x="13854574" y="3665997"/>
            <a:ext cx="920752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37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164430"/>
              </p:ext>
            </p:extLst>
          </p:nvPr>
        </p:nvGraphicFramePr>
        <p:xfrm>
          <a:off x="1539489" y="2467364"/>
          <a:ext cx="18633296" cy="3361462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33675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73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07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843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09729">
                  <a:extLst>
                    <a:ext uri="{9D8B030D-6E8A-4147-A177-3AD203B41FA5}">
                      <a16:colId xmlns:a16="http://schemas.microsoft.com/office/drawing/2014/main" val="29456297"/>
                    </a:ext>
                  </a:extLst>
                </a:gridCol>
                <a:gridCol w="3713585">
                  <a:extLst>
                    <a:ext uri="{9D8B030D-6E8A-4147-A177-3AD203B41FA5}">
                      <a16:colId xmlns:a16="http://schemas.microsoft.com/office/drawing/2014/main" val="3611556258"/>
                    </a:ext>
                  </a:extLst>
                </a:gridCol>
              </a:tblGrid>
              <a:tr h="0">
                <a:tc gridSpan="6">
                  <a:txBody>
                    <a:bodyPr/>
                    <a:lstStyle>
                      <a:lvl1pPr marL="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zh-CN" altLang="en-US" sz="3200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基本信息 </a:t>
                      </a:r>
                      <a:r>
                        <a:rPr lang="en-US" altLang="zh-CN" sz="3200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Basic Info</a:t>
                      </a:r>
                      <a:endParaRPr lang="zh-CN" altLang="en-US" sz="3200" kern="1200" dirty="0">
                        <a:solidFill>
                          <a:srgbClr val="0069BF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800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800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8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9326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姓名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Name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袁明月 </a:t>
                      </a:r>
                      <a:r>
                        <a:rPr lang="en-US" altLang="zh-CN" sz="2400" dirty="0" err="1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YuanMingYue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年龄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Age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6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</a:rPr>
                        <a:t>籍贯</a:t>
                      </a:r>
                      <a:r>
                        <a:rPr lang="en-US" altLang="zh-CN" sz="24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ative place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</a:rPr>
                        <a:t>广东东莞 </a:t>
                      </a:r>
                      <a:r>
                        <a:rPr lang="en-US" altLang="zh-CN" sz="24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gGuan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uangdong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6508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隶属部门 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Current</a:t>
                      </a:r>
                      <a:r>
                        <a:rPr lang="en-US" altLang="zh-CN" sz="24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epartment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嵌入式软件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任职岗位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Current Job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开发高级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现职级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Current Job</a:t>
                      </a:r>
                      <a:r>
                        <a:rPr lang="en-US" altLang="zh-CN" sz="24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Grade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级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Grade 9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508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拟晋升部门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Future Department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嵌入式软件部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拟晋升岗位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Future Job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开发高级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拟晋升职级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Future Job</a:t>
                      </a:r>
                      <a:r>
                        <a:rPr lang="en-US" altLang="zh-CN" sz="24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Grade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9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级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Grade 9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475881"/>
              </p:ext>
            </p:extLst>
          </p:nvPr>
        </p:nvGraphicFramePr>
        <p:xfrm>
          <a:off x="1539489" y="6184518"/>
          <a:ext cx="22086056" cy="3029678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48053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97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545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284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2359">
                <a:tc gridSpan="4">
                  <a:txBody>
                    <a:bodyPr/>
                    <a:lstStyle>
                      <a:lvl1pPr marL="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zh-CN" altLang="en-US" sz="3200" b="1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教育情况 </a:t>
                      </a:r>
                      <a:r>
                        <a:rPr lang="en-US" altLang="zh-CN" sz="3200" b="1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Education Profile</a:t>
                      </a:r>
                      <a:endParaRPr lang="zh-CN" altLang="en-US" sz="3200" b="1" kern="1200" dirty="0">
                        <a:solidFill>
                          <a:srgbClr val="0069BF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2359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ctr"/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学历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ducation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本科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Undergraduate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东莞理工学院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Dongguan University of Technology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气工程及其自动化 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lectrical Engineering and Automation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2359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2359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取得职称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证书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专利 </a:t>
                      </a:r>
                      <a:endParaRPr lang="en-US" altLang="zh-CN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rofessional title/certificate/patent</a:t>
                      </a:r>
                      <a:r>
                        <a:rPr lang="zh-CN" altLang="en-US" sz="20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algn="l"/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嵌入式系统设计师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altLang="en-US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考中级</a:t>
                      </a:r>
                      <a:r>
                        <a:rPr lang="en-US" altLang="zh-CN" sz="2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endParaRPr lang="zh-CN" altLang="en-US" sz="2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bg1">
                            <a:lumMod val="50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613963"/>
              </p:ext>
            </p:extLst>
          </p:nvPr>
        </p:nvGraphicFramePr>
        <p:xfrm>
          <a:off x="1539489" y="9415942"/>
          <a:ext cx="22086056" cy="3838560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67449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90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620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7712">
                <a:tc gridSpan="3">
                  <a:txBody>
                    <a:bodyPr/>
                    <a:lstStyle>
                      <a:lvl1pPr marL="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b="1" kern="1200">
                          <a:solidFill>
                            <a:schemeClr val="lt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zh-CN" altLang="en-US" sz="3200" b="1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从业经历 </a:t>
                      </a:r>
                      <a:r>
                        <a:rPr lang="en-US" altLang="zh-CN" sz="3200" b="1" kern="1200" dirty="0">
                          <a:solidFill>
                            <a:srgbClr val="0069BF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Relevant working experience</a:t>
                      </a:r>
                      <a:endParaRPr lang="zh-CN" altLang="en-US" sz="3200" b="1" kern="1200" dirty="0">
                        <a:solidFill>
                          <a:srgbClr val="0069BF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7712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2020/07 ~ 2024/07</a:t>
                      </a:r>
                      <a:endParaRPr lang="zh-CN" altLang="en-US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广东汇意技术有限公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高级嵌入式软件开发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7712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2018/04 ~ 2020/05</a:t>
                      </a:r>
                      <a:endParaRPr lang="zh-CN" altLang="en-US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东莞市华业新科电子科技有限公司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嵌入式软件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7712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2016/</a:t>
                      </a:r>
                      <a:r>
                        <a:rPr lang="en-US" altLang="zh-CN" sz="2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3 </a:t>
                      </a:r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~ 2018/02</a:t>
                      </a:r>
                      <a:endParaRPr lang="zh-CN" altLang="en-US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广东新意通讯有限公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高级嵌入式软件开发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7712"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2011/</a:t>
                      </a:r>
                      <a:r>
                        <a:rPr lang="en-US" altLang="zh-CN" sz="2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7 </a:t>
                      </a:r>
                      <a:r>
                        <a:rPr lang="en-US" altLang="zh-CN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j-ea"/>
                          <a:cs typeface="Arial" panose="020B0604020202020204" pitchFamily="34" charset="0"/>
                        </a:rPr>
                        <a:t>~ 2016/03</a:t>
                      </a:r>
                      <a:endParaRPr lang="zh-CN" altLang="en-US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东莞联动电子有限公司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1pPr>
                      <a:lvl2pPr marL="9141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2pPr>
                      <a:lvl3pPr marL="1828343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3pPr>
                      <a:lvl4pPr marL="2742514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4pPr>
                      <a:lvl5pPr marL="3656686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5pPr>
                      <a:lvl6pPr marL="4570857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6pPr>
                      <a:lvl7pPr marL="5485028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7pPr>
                      <a:lvl8pPr marL="6399200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8pPr>
                      <a:lvl9pPr marL="7313371" algn="l" defTabSz="1828343" rtl="0" eaLnBrk="1" latinLnBrk="0" hangingPunct="1">
                        <a:defRPr sz="3599" kern="1200">
                          <a:solidFill>
                            <a:schemeClr val="dk1"/>
                          </a:solidFill>
                          <a:latin typeface="Museo Sans For Dell"/>
                        </a:defRPr>
                      </a:lvl9pPr>
                    </a:lstStyle>
                    <a:p>
                      <a:r>
                        <a:rPr lang="zh-CN" altLang="en-US" sz="24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高级嵌入式软件开发工程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20546008" y="2111672"/>
            <a:ext cx="2932810" cy="385325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20692733" y="3671042"/>
            <a:ext cx="2786084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i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个人照片</a:t>
            </a:r>
            <a:endParaRPr lang="en-US" altLang="zh-CN" sz="2800" i="1" dirty="0">
              <a:solidFill>
                <a:schemeClr val="bg1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i="1" dirty="0">
                <a:solidFill>
                  <a:schemeClr val="bg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Personal photo</a:t>
            </a:r>
            <a:endParaRPr lang="zh-CN" altLang="en-US" sz="28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30ED10D-226E-824F-9CDA-F58C1167DA0F}"/>
              </a:ext>
            </a:extLst>
          </p:cNvPr>
          <p:cNvSpPr/>
          <p:nvPr/>
        </p:nvSpPr>
        <p:spPr>
          <a:xfrm>
            <a:off x="10316512" y="381634"/>
            <a:ext cx="30328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试用期主要业绩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Main achievements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2CB9036-9729-80D5-2CE9-7C12F950DB32}"/>
              </a:ext>
            </a:extLst>
          </p:cNvPr>
          <p:cNvSpPr/>
          <p:nvPr/>
        </p:nvSpPr>
        <p:spPr>
          <a:xfrm>
            <a:off x="13712546" y="329041"/>
            <a:ext cx="2948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不足与改善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Deficiencies and improvement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7F45D3C-4318-890A-37E4-258DBBD83E47}"/>
              </a:ext>
            </a:extLst>
          </p:cNvPr>
          <p:cNvSpPr/>
          <p:nvPr/>
        </p:nvSpPr>
        <p:spPr>
          <a:xfrm>
            <a:off x="16424549" y="329040"/>
            <a:ext cx="30863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对团队的建议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Suggestions to the team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06A9E89-6DDF-D7E2-7086-B1B8BD85D15E}"/>
              </a:ext>
            </a:extLst>
          </p:cNvPr>
          <p:cNvSpPr/>
          <p:nvPr/>
        </p:nvSpPr>
        <p:spPr>
          <a:xfrm>
            <a:off x="19312100" y="352839"/>
            <a:ext cx="23391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规划与展望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Work Plan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317F1645-407B-DBB6-6423-A3ECAB919585}"/>
              </a:ext>
            </a:extLst>
          </p:cNvPr>
          <p:cNvSpPr/>
          <p:nvPr/>
        </p:nvSpPr>
        <p:spPr>
          <a:xfrm>
            <a:off x="7036601" y="381634"/>
            <a:ext cx="3066030" cy="1442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个人简介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profile</a:t>
            </a:r>
          </a:p>
          <a:p>
            <a:pPr marL="0" lvl="1" defTabSz="1828343">
              <a:lnSpc>
                <a:spcPct val="150000"/>
              </a:lnSpc>
            </a:pP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20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矩形 46"/>
          <p:cNvSpPr/>
          <p:nvPr/>
        </p:nvSpPr>
        <p:spPr>
          <a:xfrm>
            <a:off x="10316512" y="381634"/>
            <a:ext cx="3182153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试用期主要业绩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Main achievements</a:t>
            </a:r>
          </a:p>
        </p:txBody>
      </p:sp>
      <p:sp>
        <p:nvSpPr>
          <p:cNvPr id="8" name="矩形 7"/>
          <p:cNvSpPr/>
          <p:nvPr/>
        </p:nvSpPr>
        <p:spPr>
          <a:xfrm>
            <a:off x="13712546" y="329041"/>
            <a:ext cx="2948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不足与改善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Deficiencies and improvement</a:t>
            </a:r>
          </a:p>
        </p:txBody>
      </p:sp>
      <p:sp>
        <p:nvSpPr>
          <p:cNvPr id="9" name="矩形 8"/>
          <p:cNvSpPr/>
          <p:nvPr/>
        </p:nvSpPr>
        <p:spPr>
          <a:xfrm>
            <a:off x="16424549" y="329040"/>
            <a:ext cx="30863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对团队的建议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Suggestions to the team</a:t>
            </a:r>
          </a:p>
        </p:txBody>
      </p:sp>
      <p:sp>
        <p:nvSpPr>
          <p:cNvPr id="10" name="矩形 9"/>
          <p:cNvSpPr/>
          <p:nvPr/>
        </p:nvSpPr>
        <p:spPr>
          <a:xfrm>
            <a:off x="19312100" y="352839"/>
            <a:ext cx="23391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规划与展望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Work Plan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6747F5E9-BDAE-DACB-422E-5CCDFAEFB470}"/>
              </a:ext>
            </a:extLst>
          </p:cNvPr>
          <p:cNvSpPr/>
          <p:nvPr/>
        </p:nvSpPr>
        <p:spPr>
          <a:xfrm>
            <a:off x="7036601" y="381634"/>
            <a:ext cx="2469330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个人简介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profile</a:t>
            </a:r>
          </a:p>
          <a:p>
            <a:pPr marL="0" lvl="1" defTabSz="1828343">
              <a:lnSpc>
                <a:spcPct val="150000"/>
              </a:lnSpc>
            </a:pP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86274E1-90F4-59C8-FE50-85AD902C7A2E}"/>
              </a:ext>
            </a:extLst>
          </p:cNvPr>
          <p:cNvSpPr txBox="1"/>
          <p:nvPr/>
        </p:nvSpPr>
        <p:spPr>
          <a:xfrm>
            <a:off x="1525802" y="4563507"/>
            <a:ext cx="20763571" cy="534960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在试用期间，我主要负责功耗领域的工作，并协作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X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SP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领域。期间通过系统的学习和实践。我逐渐熟悉了工作流程和操作规范，能够独立地完成任务，并且不断地提高工作效率和准确性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在这三个月里，我学习了客户地开发环境搭建、调试方法和编码规则，并完成了功耗的缺陷修复和新功能编写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同时补充学习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WS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的相关背景知识，掌握功耗测量的各种工具的使用及测量的方法。例如使用功耗大板进行功耗分解，通过日志信息计算功耗消耗情况。并利用掌握的功耗工具分析处理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TS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单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ta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单，保证功耗领域的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值达标，确保项目在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5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、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6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阶段顺利过点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63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6AAB220-DA9D-00CB-AAE3-3CC3B7D0B73B}"/>
              </a:ext>
            </a:extLst>
          </p:cNvPr>
          <p:cNvSpPr/>
          <p:nvPr/>
        </p:nvSpPr>
        <p:spPr>
          <a:xfrm>
            <a:off x="10126528" y="381634"/>
            <a:ext cx="30328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试用期主要业绩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Main achievements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CCED478-6D60-7967-075D-3A2A9CD4DD5B}"/>
              </a:ext>
            </a:extLst>
          </p:cNvPr>
          <p:cNvSpPr/>
          <p:nvPr/>
        </p:nvSpPr>
        <p:spPr>
          <a:xfrm>
            <a:off x="13239151" y="329040"/>
            <a:ext cx="32651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不足与改善</a:t>
            </a: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Deficiencies and improvement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822C32C9-C69E-D877-7633-02991D4C2E03}"/>
              </a:ext>
            </a:extLst>
          </p:cNvPr>
          <p:cNvSpPr/>
          <p:nvPr/>
        </p:nvSpPr>
        <p:spPr>
          <a:xfrm>
            <a:off x="16424549" y="329040"/>
            <a:ext cx="30863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对团队的建议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Suggestions to the team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0067692-9948-7B55-CE58-077FF003B773}"/>
              </a:ext>
            </a:extLst>
          </p:cNvPr>
          <p:cNvSpPr/>
          <p:nvPr/>
        </p:nvSpPr>
        <p:spPr>
          <a:xfrm>
            <a:off x="19312100" y="352839"/>
            <a:ext cx="23391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规划与展望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Work Pla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4596ADE-338B-1708-5FB4-240A62F6A464}"/>
              </a:ext>
            </a:extLst>
          </p:cNvPr>
          <p:cNvSpPr/>
          <p:nvPr/>
        </p:nvSpPr>
        <p:spPr>
          <a:xfrm>
            <a:off x="7036601" y="381634"/>
            <a:ext cx="2469330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个人简介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profile</a:t>
            </a:r>
          </a:p>
          <a:p>
            <a:pPr marL="0" lvl="1" defTabSz="1828343">
              <a:lnSpc>
                <a:spcPct val="150000"/>
              </a:lnSpc>
            </a:pP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E7CFF8AB-97DB-770E-890E-87E771D8B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644291"/>
              </p:ext>
            </p:extLst>
          </p:nvPr>
        </p:nvGraphicFramePr>
        <p:xfrm>
          <a:off x="1377717" y="2561965"/>
          <a:ext cx="21622216" cy="9936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11108">
                  <a:extLst>
                    <a:ext uri="{9D8B030D-6E8A-4147-A177-3AD203B41FA5}">
                      <a16:colId xmlns:a16="http://schemas.microsoft.com/office/drawing/2014/main" val="1018811872"/>
                    </a:ext>
                  </a:extLst>
                </a:gridCol>
                <a:gridCol w="10811108">
                  <a:extLst>
                    <a:ext uri="{9D8B030D-6E8A-4147-A177-3AD203B41FA5}">
                      <a16:colId xmlns:a16="http://schemas.microsoft.com/office/drawing/2014/main" val="2776807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不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改善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6521584"/>
                  </a:ext>
                </a:extLst>
              </a:tr>
              <a:tr h="2356199">
                <a:tc>
                  <a:txBody>
                    <a:bodyPr/>
                    <a:lstStyle/>
                    <a:p>
                      <a:pPr algn="l"/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对</a:t>
                      </a:r>
                      <a:r>
                        <a:rPr lang="en-US" altLang="zh-CN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S</a:t>
                      </a:r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技术的接触较少，导致在项目理解和实施上遇到困难，工作进展缓慢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利用空余时间深入学习</a:t>
                      </a:r>
                      <a:r>
                        <a:rPr lang="en-US" altLang="zh-CN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S</a:t>
                      </a:r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技术的相关知识，包括短距通信、音频处理、产品设计原理等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5999732"/>
                  </a:ext>
                </a:extLst>
              </a:tr>
              <a:tr h="3137647">
                <a:tc>
                  <a:txBody>
                    <a:bodyPr/>
                    <a:lstStyle/>
                    <a:p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专业业务水平不高，处理问题思路不够清晰，涉及面广的问题还不能完全独立处理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从问题单出发，在解决问题的过程中，积极与各领域的同事探讨和学习，以快速提升自己的专业水平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4003731"/>
                  </a:ext>
                </a:extLst>
              </a:tr>
              <a:tr h="3802502"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客户的工作方式以沟通协作为主，强调团队合作和共同解决问题。以往工作方式更倾向于独立工作，导致遇到问题总是习惯自己尝试解决，导致工作效率低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599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积极调整自己的工作方式，更加注重沟通和协作，以适应团队合作的环境。多向同事学习并掌握更多的团队协作技巧，提高自己的团队协作能力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6151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333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02C6B2A9-A9FD-859D-6958-D32642D653DF}"/>
              </a:ext>
            </a:extLst>
          </p:cNvPr>
          <p:cNvSpPr/>
          <p:nvPr/>
        </p:nvSpPr>
        <p:spPr>
          <a:xfrm>
            <a:off x="10316512" y="381634"/>
            <a:ext cx="30328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试用期主要业绩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Main achievements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EB549CF-3136-D625-ACE6-152F2F9260D7}"/>
              </a:ext>
            </a:extLst>
          </p:cNvPr>
          <p:cNvSpPr/>
          <p:nvPr/>
        </p:nvSpPr>
        <p:spPr>
          <a:xfrm>
            <a:off x="13712546" y="329041"/>
            <a:ext cx="2948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不足与改善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Deficiencies and improvement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D30F287D-19DA-2070-DA0F-18CDB33AD546}"/>
              </a:ext>
            </a:extLst>
          </p:cNvPr>
          <p:cNvSpPr/>
          <p:nvPr/>
        </p:nvSpPr>
        <p:spPr>
          <a:xfrm>
            <a:off x="16424549" y="329040"/>
            <a:ext cx="30863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对团队的建议</a:t>
            </a: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Suggestions to the team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251FEE6-457C-DE6D-A202-4D3FA1207B31}"/>
              </a:ext>
            </a:extLst>
          </p:cNvPr>
          <p:cNvSpPr/>
          <p:nvPr/>
        </p:nvSpPr>
        <p:spPr>
          <a:xfrm>
            <a:off x="19510889" y="381633"/>
            <a:ext cx="23391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规划与展望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Work Pla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D857C29-0B13-25B0-6916-4CE430535143}"/>
              </a:ext>
            </a:extLst>
          </p:cNvPr>
          <p:cNvSpPr/>
          <p:nvPr/>
        </p:nvSpPr>
        <p:spPr>
          <a:xfrm>
            <a:off x="7036601" y="381634"/>
            <a:ext cx="2469330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个人简介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profile</a:t>
            </a:r>
          </a:p>
          <a:p>
            <a:pPr marL="0" lvl="1" defTabSz="1828343">
              <a:lnSpc>
                <a:spcPct val="150000"/>
              </a:lnSpc>
            </a:pP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7C59EC0-0501-AD1B-6E6D-18F0FBA6A8DF}"/>
              </a:ext>
            </a:extLst>
          </p:cNvPr>
          <p:cNvSpPr txBox="1"/>
          <p:nvPr/>
        </p:nvSpPr>
        <p:spPr>
          <a:xfrm>
            <a:off x="2297150" y="4632093"/>
            <a:ext cx="18109581" cy="3358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试用期期间，团队给了我极大的支持和帮助，让我能够迅速融入并学习到许多宝贵的知识和技能，少走许多弯路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   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但是由于领域差异比较大，遇到具体的问题时候，不同领域的同事难以提供实质帮助。对于没有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WS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背景的新成员，建议在入项前增加系统的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WS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基础培训，和对应领域的知识串讲，条件允许的情况</a:t>
            </a: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下实现一带一模式，一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程度上能帮助新成员更快地融入工作中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4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B656C9-03F2-CAB6-BB48-82913CC6B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8EE9F5F-AE25-05D3-4943-BA3955EF2B79}"/>
              </a:ext>
            </a:extLst>
          </p:cNvPr>
          <p:cNvSpPr/>
          <p:nvPr/>
        </p:nvSpPr>
        <p:spPr>
          <a:xfrm>
            <a:off x="10316512" y="381634"/>
            <a:ext cx="303288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试用期主要业绩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Main achievements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90BF16A-8659-DA66-8361-581157D8E7FC}"/>
              </a:ext>
            </a:extLst>
          </p:cNvPr>
          <p:cNvSpPr/>
          <p:nvPr/>
        </p:nvSpPr>
        <p:spPr>
          <a:xfrm>
            <a:off x="13712546" y="329041"/>
            <a:ext cx="2948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不足与改善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Deficiencies and improvement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AF9C637-90D7-8EF3-398C-A6B61C0E2185}"/>
              </a:ext>
            </a:extLst>
          </p:cNvPr>
          <p:cNvSpPr/>
          <p:nvPr/>
        </p:nvSpPr>
        <p:spPr>
          <a:xfrm>
            <a:off x="16424549" y="329040"/>
            <a:ext cx="30863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对团队的建议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Suggestions to the team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CC362F3-F3B2-67B1-0D51-F333795C194C}"/>
              </a:ext>
            </a:extLst>
          </p:cNvPr>
          <p:cNvSpPr/>
          <p:nvPr/>
        </p:nvSpPr>
        <p:spPr>
          <a:xfrm>
            <a:off x="19312100" y="352839"/>
            <a:ext cx="2698175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1828343"/>
            <a:r>
              <a:rPr lang="zh-CN" altLang="en-US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工作规划与展望</a:t>
            </a:r>
            <a:endParaRPr lang="en-US" altLang="zh-CN" sz="2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Work Plan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D589370-BAA1-F447-038A-A059F425853A}"/>
              </a:ext>
            </a:extLst>
          </p:cNvPr>
          <p:cNvSpPr/>
          <p:nvPr/>
        </p:nvSpPr>
        <p:spPr>
          <a:xfrm>
            <a:off x="7036601" y="381634"/>
            <a:ext cx="2469330" cy="1319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1828343"/>
            <a:r>
              <a:rPr lang="zh-CN" alt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个人简介</a:t>
            </a:r>
            <a:endParaRPr lang="en-US" altLang="zh-CN" sz="2400" dirty="0">
              <a:solidFill>
                <a:schemeClr val="accent4">
                  <a:lumMod val="20000"/>
                  <a:lumOff val="8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  <a:p>
            <a:pPr marL="0" lvl="1" defTabSz="1828343"/>
            <a:r>
              <a:rPr lang="en-US" altLang="zh-CN" sz="24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Personal profile</a:t>
            </a:r>
          </a:p>
          <a:p>
            <a:pPr marL="0" lvl="1" defTabSz="1828343">
              <a:lnSpc>
                <a:spcPct val="150000"/>
              </a:lnSpc>
            </a:pPr>
            <a:endParaRPr lang="en-US" altLang="zh-CN" sz="24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161D9AFB-834B-F38D-22FF-D7F9813248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4060591"/>
              </p:ext>
            </p:extLst>
          </p:nvPr>
        </p:nvGraphicFramePr>
        <p:xfrm>
          <a:off x="866710" y="2011474"/>
          <a:ext cx="22644230" cy="8626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7537">
                  <a:extLst>
                    <a:ext uri="{9D8B030D-6E8A-4147-A177-3AD203B41FA5}">
                      <a16:colId xmlns:a16="http://schemas.microsoft.com/office/drawing/2014/main" val="1200222558"/>
                    </a:ext>
                  </a:extLst>
                </a:gridCol>
                <a:gridCol w="17306693">
                  <a:extLst>
                    <a:ext uri="{9D8B030D-6E8A-4147-A177-3AD203B41FA5}">
                      <a16:colId xmlns:a16="http://schemas.microsoft.com/office/drawing/2014/main" val="1342134978"/>
                    </a:ext>
                  </a:extLst>
                </a:gridCol>
              </a:tblGrid>
              <a:tr h="350773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未来工作规划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7377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3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9121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深入学习功耗领域知识</a:t>
                      </a:r>
                      <a:endParaRPr lang="en-US" altLang="zh-CN" sz="3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. 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继续向功耗接口人、功耗</a:t>
                      </a: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E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学习，探索更多有效的节能策略和管控手法。</a:t>
                      </a:r>
                      <a:endParaRPr lang="en-US" altLang="zh-CN" sz="3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. 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持续关注功耗管理的技术和标准，保持认知的前沿性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937590"/>
                  </a:ext>
                </a:extLst>
              </a:tr>
              <a:tr h="533564"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跨领域学习与合作</a:t>
                      </a:r>
                      <a:endParaRPr lang="en-US" altLang="zh-CN" sz="3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742950" indent="-742950">
                        <a:lnSpc>
                          <a:spcPct val="120000"/>
                        </a:lnSpc>
                        <a:buAutoNum type="arabicPeriod"/>
                      </a:pP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在支援其他领域的同时，学习对应领域的设计逻辑和分析手法。例如支援</a:t>
                      </a: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UX/BSP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领域 ，学习</a:t>
                      </a: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UX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对事件的追溯，学习</a:t>
                      </a: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SP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的</a:t>
                      </a:r>
                      <a:r>
                        <a:rPr lang="en-US" altLang="zh-CN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ack Trace</a:t>
                      </a: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分析。</a:t>
                      </a:r>
                      <a:endParaRPr lang="en-US" altLang="zh-CN" sz="3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marL="742950" indent="-742950">
                        <a:lnSpc>
                          <a:spcPct val="120000"/>
                        </a:lnSpc>
                        <a:buAutoNum type="arabicPeriod"/>
                      </a:pPr>
                      <a:r>
                        <a:rPr lang="zh-CN" altLang="en-US" sz="3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加强与不同领域的沟通与合作。在交流合作中，拓宽知识面的广度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758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学习</a:t>
                      </a: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IPD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研发管理模式</a:t>
                      </a:r>
                      <a:endParaRPr lang="en-US" altLang="zh-CN" sz="3600" dirty="0">
                        <a:solidFill>
                          <a:srgbClr val="333333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1. 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学习</a:t>
                      </a: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IPD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的核心思想、原则和方法论，熟悉客户的开发流程，每一个阶段的目标、任务、输出。</a:t>
                      </a:r>
                      <a:endParaRPr lang="en-US" altLang="zh-CN" sz="3600" dirty="0">
                        <a:solidFill>
                          <a:srgbClr val="333333"/>
                        </a:solidFill>
                        <a:latin typeface="Arial" panose="020B0604020202020204" pitchFamily="34" charset="0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2. 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学习敏捷的开发模型，掌握软件开发的生命周期，学习使用软件开发和质量管理工具。</a:t>
                      </a:r>
                      <a:endParaRPr lang="en-US" altLang="zh-CN" sz="3600" dirty="0">
                        <a:solidFill>
                          <a:srgbClr val="333333"/>
                        </a:solidFill>
                        <a:latin typeface="Arial" panose="020B0604020202020204" pitchFamily="34" charset="0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3. 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尝试在客户现有的项目运作中，体验和理解</a:t>
                      </a:r>
                      <a:r>
                        <a:rPr lang="en-US" altLang="zh-CN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IPD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的流程、开发模型，软件开发生命周期等，加强掌握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8507332"/>
                  </a:ext>
                </a:extLst>
              </a:tr>
            </a:tbl>
          </a:graphicData>
        </a:graphic>
      </p:graphicFrame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8B5549E4-759C-4766-E77D-FCD731C92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995956"/>
              </p:ext>
            </p:extLst>
          </p:nvPr>
        </p:nvGraphicFramePr>
        <p:xfrm>
          <a:off x="866710" y="10884198"/>
          <a:ext cx="22644230" cy="2377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44230">
                  <a:extLst>
                    <a:ext uri="{9D8B030D-6E8A-4147-A177-3AD203B41FA5}">
                      <a16:colId xmlns:a16="http://schemas.microsoft.com/office/drawing/2014/main" val="12369137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3599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展望未来</a:t>
                      </a:r>
                      <a:endParaRPr lang="en-US" altLang="zh-CN" sz="3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1830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        立讯是一个有着开阔的发展空间平台，服务着不同的客户，为我提供了广阔的成长空间与机会。我将会在服务好客户的同时，逐步积累声学开发的相关知识，关注该行业的发展动态，</a:t>
                      </a:r>
                      <a:r>
                        <a:rPr lang="zh-CN" altLang="en-US" sz="3600" b="0" i="0" dirty="0">
                          <a:solidFill>
                            <a:srgbClr val="333333"/>
                          </a:solidFill>
                          <a:effectLst/>
                          <a:latin typeface="-apple-system"/>
                        </a:rPr>
                        <a:t>不断拓宽自己的知识边界。希望未来，无论面对新的客户还是新项目的挑战，都能</a:t>
                      </a:r>
                      <a:r>
                        <a:rPr lang="zh-CN" altLang="en-US" sz="3600" dirty="0">
                          <a:solidFill>
                            <a:srgbClr val="333333"/>
                          </a:solidFill>
                          <a:latin typeface="Arial" panose="020B0604020202020204" pitchFamily="34" charset="0"/>
                        </a:rPr>
                        <a:t>及时发挥作用。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355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64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-643468" y="3906191"/>
            <a:ext cx="25021117" cy="3631339"/>
            <a:chOff x="-693362" y="2857500"/>
            <a:chExt cx="25071012" cy="4829175"/>
          </a:xfrm>
        </p:grpSpPr>
        <p:sp>
          <p:nvSpPr>
            <p:cNvPr id="3" name="矩形 2"/>
            <p:cNvSpPr/>
            <p:nvPr/>
          </p:nvSpPr>
          <p:spPr>
            <a:xfrm>
              <a:off x="0" y="2857500"/>
              <a:ext cx="24377650" cy="4829175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zh-CN" altLang="en-US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-693362" y="4392359"/>
              <a:ext cx="24377650" cy="2353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altLang="zh-CN" sz="14000" b="1" dirty="0">
                  <a:solidFill>
                    <a:srgbClr val="00447C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Thank  you</a:t>
              </a:r>
              <a:endParaRPr lang="zh-CN" altLang="en-US" sz="14000" b="1" dirty="0">
                <a:solidFill>
                  <a:srgbClr val="00447C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/>
          <a:srcRect r="36309"/>
          <a:stretch/>
        </p:blipFill>
        <p:spPr>
          <a:xfrm>
            <a:off x="11521099" y="9726280"/>
            <a:ext cx="12422634" cy="318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15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sgObgTQtayaIfLsNqj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2.0"/>
</p:tagLst>
</file>

<file path=ppt/theme/theme1.xml><?xml version="1.0" encoding="utf-8"?>
<a:theme xmlns:a="http://schemas.openxmlformats.org/drawingml/2006/main" name="Dell_Template 16x9_final_MuseoEmbedded">
  <a:themeElements>
    <a:clrScheme name="Custom 2">
      <a:dk1>
        <a:srgbClr val="444444"/>
      </a:dk1>
      <a:lt1>
        <a:srgbClr val="FFFFFF"/>
      </a:lt1>
      <a:dk2>
        <a:srgbClr val="0085C3"/>
      </a:dk2>
      <a:lt2>
        <a:srgbClr val="FFFFFF"/>
      </a:lt2>
      <a:accent1>
        <a:srgbClr val="00447C"/>
      </a:accent1>
      <a:accent2>
        <a:srgbClr val="71C6C1"/>
      </a:accent2>
      <a:accent3>
        <a:srgbClr val="7AB800"/>
      </a:accent3>
      <a:accent4>
        <a:srgbClr val="F2AF00"/>
      </a:accent4>
      <a:accent5>
        <a:srgbClr val="CE1126"/>
      </a:accent5>
      <a:accent6>
        <a:srgbClr val="B7295A"/>
      </a:accent6>
      <a:hlink>
        <a:srgbClr val="0085C3"/>
      </a:hlink>
      <a:folHlink>
        <a:srgbClr val="0085C3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buClr>
            <a:schemeClr val="bg1"/>
          </a:buClr>
          <a:defRPr sz="14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Master_Template_16x9_Manual Page X of Y" id="{186290C0-6CA0-47DA-9200-5E0C9AF5FDBA}" vid="{F21BBC07-D25C-4191-ACF0-1B205FF22028}"/>
    </a:ext>
  </a:extLst>
</a:theme>
</file>

<file path=ppt/theme/theme2.xml><?xml version="1.0" encoding="utf-8"?>
<a:theme xmlns:a="http://schemas.openxmlformats.org/drawingml/2006/main" name="千图网PPT模板">
  <a:themeElements>
    <a:clrScheme name="MC-欧美风主题色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9BF"/>
      </a:accent1>
      <a:accent2>
        <a:srgbClr val="B0CB1D"/>
      </a:accent2>
      <a:accent3>
        <a:srgbClr val="7752C4"/>
      </a:accent3>
      <a:accent4>
        <a:srgbClr val="034D95"/>
      </a:accent4>
      <a:accent5>
        <a:srgbClr val="3F859B"/>
      </a:accent5>
      <a:accent6>
        <a:srgbClr val="D81728"/>
      </a:accent6>
      <a:hlink>
        <a:srgbClr val="4472C4"/>
      </a:hlink>
      <a:folHlink>
        <a:srgbClr val="BFBFBF"/>
      </a:folHlink>
    </a:clrScheme>
    <a:fontScheme name="Arial+微软雅黑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 anchor="ctr">
        <a:spAutoFit/>
      </a:bodyPr>
      <a:lstStyle>
        <a:defPPr>
          <a:lnSpc>
            <a:spcPct val="120000"/>
          </a:lnSpc>
          <a:defRPr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C-欧美风主题色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MC-欧美风主题色">
    <a:dk1>
      <a:srgbClr val="000000"/>
    </a:dk1>
    <a:lt1>
      <a:srgbClr val="FFFFFF"/>
    </a:lt1>
    <a:dk2>
      <a:srgbClr val="768395"/>
    </a:dk2>
    <a:lt2>
      <a:srgbClr val="F0F0F0"/>
    </a:lt2>
    <a:accent1>
      <a:srgbClr val="0069BF"/>
    </a:accent1>
    <a:accent2>
      <a:srgbClr val="B0CB1D"/>
    </a:accent2>
    <a:accent3>
      <a:srgbClr val="7752C4"/>
    </a:accent3>
    <a:accent4>
      <a:srgbClr val="034D95"/>
    </a:accent4>
    <a:accent5>
      <a:srgbClr val="3F859B"/>
    </a:accent5>
    <a:accent6>
      <a:srgbClr val="D81728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51510</TotalTime>
  <Words>1082</Words>
  <Application>Microsoft Office PowerPoint</Application>
  <PresentationFormat>自定义</PresentationFormat>
  <Paragraphs>153</Paragraphs>
  <Slides>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3" baseType="lpstr">
      <vt:lpstr>-apple-system</vt:lpstr>
      <vt:lpstr>MS PGothic</vt:lpstr>
      <vt:lpstr>Museo For Dell 300</vt:lpstr>
      <vt:lpstr>Museo Sans For Dell</vt:lpstr>
      <vt:lpstr>等线</vt:lpstr>
      <vt:lpstr>微软雅黑</vt:lpstr>
      <vt:lpstr>Arial</vt:lpstr>
      <vt:lpstr>Arial Black</vt:lpstr>
      <vt:lpstr>Courier New</vt:lpstr>
      <vt:lpstr>Lato Light</vt:lpstr>
      <vt:lpstr>Trebuchet MS</vt:lpstr>
      <vt:lpstr>Wingdings</vt:lpstr>
      <vt:lpstr>Dell_Template 16x9_final_MuseoEmbedded</vt:lpstr>
      <vt:lpstr>千图网PPT模板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iaoju.Ye@luxshare-ict.com</dc:creator>
  <cp:lastModifiedBy>moon yuan</cp:lastModifiedBy>
  <cp:revision>4760</cp:revision>
  <cp:lastPrinted>2020-05-22T10:54:52Z</cp:lastPrinted>
  <dcterms:created xsi:type="dcterms:W3CDTF">2014-11-12T21:47:38Z</dcterms:created>
  <dcterms:modified xsi:type="dcterms:W3CDTF">2024-11-20T14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6485058</vt:lpwstr>
  </property>
  <property fmtid="{D5CDD505-2E9C-101B-9397-08002B2CF9AE}" pid="3" name="NXPowerLiteVersion">
    <vt:lpwstr>D4.1.4</vt:lpwstr>
  </property>
</Properties>
</file>